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9"/>
  </p:notesMasterIdLst>
  <p:sldIdLst>
    <p:sldId id="256" r:id="rId2"/>
    <p:sldId id="271" r:id="rId3"/>
    <p:sldId id="290" r:id="rId4"/>
    <p:sldId id="273" r:id="rId5"/>
    <p:sldId id="277" r:id="rId6"/>
    <p:sldId id="295" r:id="rId7"/>
    <p:sldId id="289" r:id="rId8"/>
    <p:sldId id="291" r:id="rId9"/>
    <p:sldId id="274" r:id="rId10"/>
    <p:sldId id="292" r:id="rId11"/>
    <p:sldId id="293" r:id="rId12"/>
    <p:sldId id="276" r:id="rId13"/>
    <p:sldId id="294" r:id="rId14"/>
    <p:sldId id="297" r:id="rId15"/>
    <p:sldId id="296" r:id="rId16"/>
    <p:sldId id="298" r:id="rId17"/>
    <p:sldId id="279" r:id="rId18"/>
  </p:sldIdLst>
  <p:sldSz cx="9144000" cy="5143500" type="screen16x9"/>
  <p:notesSz cx="6735763" cy="9866313"/>
  <p:custDataLst>
    <p:tags r:id="rId20"/>
  </p:custDataLst>
  <p:defaultTextStyle>
    <a:defPPr lvl="0">
      <a:defRPr lang="ru-RU"/>
    </a:defPPr>
    <a:lvl1pPr marL="0" lv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lvl="1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lvl="2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lvl="3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lvl="4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lvl="5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lvl="6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lvl="7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lvl="8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71" userDrawn="1">
          <p15:clr>
            <a:srgbClr val="A4A3A4"/>
          </p15:clr>
        </p15:guide>
        <p15:guide id="2" orient="horz" pos="1688" userDrawn="1">
          <p15:clr>
            <a:srgbClr val="A4A3A4"/>
          </p15:clr>
        </p15:guide>
        <p15:guide id="3" orient="horz" pos="282" userDrawn="1">
          <p15:clr>
            <a:srgbClr val="A4A3A4"/>
          </p15:clr>
        </p15:guide>
        <p15:guide id="4" pos="43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1458"/>
    <a:srgbClr val="51155B"/>
    <a:srgbClr val="6D1C7A"/>
    <a:srgbClr val="7A1F89"/>
    <a:srgbClr val="5725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43"/>
  </p:normalViewPr>
  <p:slideViewPr>
    <p:cSldViewPr snapToGrid="0">
      <p:cViewPr>
        <p:scale>
          <a:sx n="152" d="100"/>
          <a:sy n="152" d="100"/>
        </p:scale>
        <p:origin x="-444" y="-72"/>
      </p:cViewPr>
      <p:guideLst>
        <p:guide orient="horz" pos="1688"/>
        <p:guide orient="horz" pos="282"/>
        <p:guide pos="771"/>
        <p:guide pos="43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0334" tIns="45167" rIns="90334" bIns="45167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0334" tIns="45167" rIns="90334" bIns="45167" rtlCol="0"/>
          <a:lstStyle>
            <a:lvl1pPr algn="r">
              <a:defRPr sz="1200"/>
            </a:lvl1pPr>
          </a:lstStyle>
          <a:p>
            <a:fld id="{9C7A0DF1-3CBA-4C80-86DA-99BC126E4835}" type="datetimeFigureOut">
              <a:rPr lang="ru-RU" smtClean="0"/>
              <a:pPr/>
              <a:t>16.04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34" tIns="45167" rIns="90334" bIns="45167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0334" tIns="45167" rIns="90334" bIns="45167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0334" tIns="45167" rIns="90334" bIns="45167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0334" tIns="45167" rIns="90334" bIns="45167" rtlCol="0" anchor="b"/>
          <a:lstStyle>
            <a:lvl1pPr algn="r">
              <a:defRPr sz="1200"/>
            </a:lvl1pPr>
          </a:lstStyle>
          <a:p>
            <a:fld id="{F901B7E3-A14E-4358-97FC-6F12771D96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16631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44A48DDA-D48B-EC45-834C-B226F08A4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71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7" name="Слайд think-cell" r:id="rId4" imgW="7761960" imgH="10047960" progId="">
                  <p:embed/>
                </p:oleObj>
              </mc:Choice>
              <mc:Fallback>
                <p:oleObj name="Слайд think-cell" r:id="rId4" imgW="7761960" imgH="10047960" progId="">
                  <p:embed/>
                  <p:pic>
                    <p:nvPicPr>
                      <p:cNvPr id="0" name="Picture 2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E3F162AC-EEAE-F940-9036-6060456D0393}"/>
              </a:ext>
            </a:extLst>
          </p:cNvPr>
          <p:cNvGrpSpPr/>
          <p:nvPr userDrawn="1"/>
        </p:nvGrpSpPr>
        <p:grpSpPr>
          <a:xfrm>
            <a:off x="-67733" y="0"/>
            <a:ext cx="9211733" cy="5143500"/>
            <a:chOff x="-67733" y="0"/>
            <a:chExt cx="12259734" cy="6858000"/>
          </a:xfrm>
        </p:grpSpPr>
        <p:sp>
          <p:nvSpPr>
            <p:cNvPr id="9" name="bk object 16">
              <a:extLst>
                <a:ext uri="{FF2B5EF4-FFF2-40B4-BE49-F238E27FC236}">
                  <a16:creationId xmlns:a16="http://schemas.microsoft.com/office/drawing/2014/main" xmlns="" id="{4052DF83-D460-1241-9F44-6991BFF3C8A5}"/>
                </a:ext>
              </a:extLst>
            </p:cNvPr>
            <p:cNvSpPr/>
            <p:nvPr/>
          </p:nvSpPr>
          <p:spPr>
            <a:xfrm>
              <a:off x="-67733" y="0"/>
              <a:ext cx="12259734" cy="685800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11" name="Picture 2" descr="Background.png">
              <a:extLst>
                <a:ext uri="{FF2B5EF4-FFF2-40B4-BE49-F238E27FC236}">
                  <a16:creationId xmlns:a16="http://schemas.microsoft.com/office/drawing/2014/main" xmlns="" id="{34DEA253-669F-9244-B9E6-706483EFAC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311"/>
            <a:stretch/>
          </p:blipFill>
          <p:spPr>
            <a:xfrm>
              <a:off x="7932716" y="65619"/>
              <a:ext cx="4137807" cy="6792381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1896" y="1117030"/>
            <a:ext cx="4203030" cy="1288045"/>
          </a:xfrm>
        </p:spPr>
        <p:txBody>
          <a:bodyPr anchor="ctr"/>
          <a:lstStyle>
            <a:lvl1pPr algn="ctr">
              <a:defRPr kumimoji="0" lang="ru-RU" sz="4400" b="1" i="0" u="none" strike="noStrike" kern="0" cap="all" spc="335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46947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3A59C-51EE-A54F-81CB-8CBCC88EB25B}" type="datetime1">
              <a:rPr lang="ru-RU" smtClean="0"/>
              <a:pPr/>
              <a:t>16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3223A76D-1947-C349-8549-2B993CA02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318549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>
              <a:defRPr lang="ru-RU" b="1" i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2E4DC82-C698-0F42-961C-104A049951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7" y="102393"/>
            <a:ext cx="1661396" cy="1132284"/>
          </a:xfrm>
          <a:prstGeom prst="rect">
            <a:avLst/>
          </a:prstGeom>
        </p:spPr>
      </p:pic>
      <p:sp>
        <p:nvSpPr>
          <p:cNvPr id="15" name="Номер слайда 2">
            <a:extLst>
              <a:ext uri="{FF2B5EF4-FFF2-40B4-BE49-F238E27FC236}">
                <a16:creationId xmlns:a16="http://schemas.microsoft.com/office/drawing/2014/main" xmlns="" id="{9E576A98-4E17-424E-B5FF-75B8C7F9C6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5963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910DA-E29C-CB43-9DAD-DDA3F60BD408}" type="datetime1">
              <a:rPr lang="ru-RU" smtClean="0"/>
              <a:pPr/>
              <a:t>16.04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2">
            <a:extLst>
              <a:ext uri="{FF2B5EF4-FFF2-40B4-BE49-F238E27FC236}">
                <a16:creationId xmlns:a16="http://schemas.microsoft.com/office/drawing/2014/main" xmlns="" id="{9999D2F0-83B1-894B-9AD6-0E5D793D5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93299228-E5EE-6247-8E8B-895FD0C84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45" y="529983"/>
            <a:ext cx="3540006" cy="318549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9E0226C-DDF0-2D42-9BF0-759D5B5E5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6" y="102393"/>
            <a:ext cx="2225953" cy="151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2207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8990F-0B7F-E443-8BA1-91D11E845BEB}" type="datetime1">
              <a:rPr lang="ru-RU" smtClean="0"/>
              <a:pPr/>
              <a:t>16.04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2">
            <a:extLst>
              <a:ext uri="{FF2B5EF4-FFF2-40B4-BE49-F238E27FC236}">
                <a16:creationId xmlns:a16="http://schemas.microsoft.com/office/drawing/2014/main" xmlns="" id="{FEDF7417-3240-3C40-8F0B-49BB267C49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78E15DC5-EA79-C543-81F0-47808A8C3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45" y="529983"/>
            <a:ext cx="3540006" cy="318549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2B4FCADD-1031-2945-A457-FD92CE403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6" y="102393"/>
            <a:ext cx="2225953" cy="151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0847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emf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B5D4D4AC-A483-6547-93A7-4180FB2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14232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" name="Слайд think-cell" r:id="rId9" imgW="7761960" imgH="10047960" progId="">
                  <p:embed/>
                </p:oleObj>
              </mc:Choice>
              <mc:Fallback>
                <p:oleObj name="Слайд think-cell" r:id="rId9" imgW="7761960" imgH="10047960" progId="">
                  <p:embed/>
                  <p:pic>
                    <p:nvPicPr>
                      <p:cNvPr id="0" name="Picture 3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07C17877-6A4F-AD4C-928F-EF856A9FFD7C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1800" b="1" i="0" baseline="0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8448" y="224774"/>
            <a:ext cx="5029199" cy="346249"/>
          </a:xfrm>
          <a:prstGeom prst="rect">
            <a:avLst/>
          </a:prstGeom>
          <a:noFill/>
        </p:spPr>
        <p:txBody>
          <a:bodyPr wrap="square" lIns="0" tIns="34290" rIns="0" bIns="3429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7DB026-BC01-894B-B5E1-E49353B23816}" type="datetime1">
              <a:rPr lang="ru-RU" smtClean="0"/>
              <a:pPr/>
              <a:t>16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Номер слайда 2">
            <a:extLst>
              <a:ext uri="{FF2B5EF4-FFF2-40B4-BE49-F238E27FC236}">
                <a16:creationId xmlns:a16="http://schemas.microsoft.com/office/drawing/2014/main" xmlns="" id="{893D1DDF-97A8-F34F-A389-AE54D650FE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84DAAD4F-961C-D449-BDDA-5380B605E6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22111"/>
          <a:stretch/>
        </p:blipFill>
        <p:spPr>
          <a:xfrm>
            <a:off x="91637" y="102393"/>
            <a:ext cx="1661396" cy="113228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8043A0D-CFF1-3C45-96F0-CF677E5F18C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2962" y="102393"/>
            <a:ext cx="2777791" cy="346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362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</p:sldLayoutIdLst>
  <p:hf hdr="0" ftr="0" dt="0"/>
  <p:txStyles>
    <p:titleStyle>
      <a:lvl1pPr algn="ctr" defTabSz="685800" rtl="0" eaLnBrk="1" latinLnBrk="0" hangingPunct="1">
        <a:lnSpc>
          <a:spcPct val="100000"/>
        </a:lnSpc>
        <a:spcBef>
          <a:spcPct val="0"/>
        </a:spcBef>
        <a:buNone/>
        <a:defRPr lang="ru-RU" sz="1800" b="1" i="0" kern="1200" cap="all" baseline="0" dirty="0">
          <a:solidFill>
            <a:srgbClr val="EB4B77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tags" Target="../tags/tag35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>
            <a:extLst>
              <a:ext uri="{FF2B5EF4-FFF2-40B4-BE49-F238E27FC236}">
                <a16:creationId xmlns:a16="http://schemas.microsoft.com/office/drawing/2014/main" xmlns="" id="{9F5D807D-2C08-A84A-A8B8-40772FFAAD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6484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05" name="Слайд think-cell" r:id="rId4" imgW="7761960" imgH="10047960" progId="">
                  <p:embed/>
                </p:oleObj>
              </mc:Choice>
              <mc:Fallback>
                <p:oleObj name="Слайд think-cell" r:id="rId4" imgW="7761960" imgH="100479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bject 2">
            <a:extLst>
              <a:ext uri="{FF2B5EF4-FFF2-40B4-BE49-F238E27FC236}">
                <a16:creationId xmlns:a16="http://schemas.microsoft.com/office/drawing/2014/main" xmlns="" id="{7EF18E27-3071-4447-8A75-4312502DE3D2}"/>
              </a:ext>
            </a:extLst>
          </p:cNvPr>
          <p:cNvSpPr txBox="1">
            <a:spLocks/>
          </p:cNvSpPr>
          <p:nvPr/>
        </p:nvSpPr>
        <p:spPr>
          <a:xfrm>
            <a:off x="250825" y="1874349"/>
            <a:ext cx="5313952" cy="91050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0" lang="ru-RU" sz="4400" b="1" i="0" u="none" strike="noStrike" kern="0" cap="all" spc="335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pPr marL="12700" algn="l">
              <a:spcBef>
                <a:spcPts val="2345"/>
              </a:spcBef>
            </a:pPr>
            <a:r>
              <a:rPr lang="ru-RU" sz="2000" spc="0" dirty="0"/>
              <a:t>Меры поддержки бизнеса </a:t>
            </a:r>
          </a:p>
          <a:p>
            <a:pPr marL="12700" algn="l">
              <a:spcBef>
                <a:spcPts val="2345"/>
              </a:spcBef>
            </a:pPr>
            <a:r>
              <a:rPr lang="ru-RU" sz="2000" spc="0" dirty="0"/>
              <a:t>2020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2397B09C-8AB6-E143-A711-FCFA3C69F5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"/>
          <a:stretch/>
        </p:blipFill>
        <p:spPr>
          <a:xfrm>
            <a:off x="250825" y="3927855"/>
            <a:ext cx="2252312" cy="100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44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DCBDE671-4DF8-9D4E-B520-B0314B5CE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56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480099B9-760B-CA4E-8EED-6140182213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826C18E2-CE5E-2B43-BD18-5E0B1BDDF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2890" y="249254"/>
            <a:ext cx="5269894" cy="346249"/>
          </a:xfrm>
        </p:spPr>
        <p:txBody>
          <a:bodyPr/>
          <a:lstStyle/>
          <a:p>
            <a:r>
              <a:rPr lang="ru-RU" dirty="0"/>
              <a:t>МЕРЫ ПОДДЕРЖКИ МСП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4EE7D945-FCC3-7F47-9E40-29C6A864C2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0</a:t>
            </a:fld>
            <a:endParaRPr lang="ru-RU" dirty="0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182A1AD9-9D05-3044-9D2A-1D725E0E94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2883672"/>
              </p:ext>
            </p:extLst>
          </p:nvPr>
        </p:nvGraphicFramePr>
        <p:xfrm>
          <a:off x="341497" y="775755"/>
          <a:ext cx="8673127" cy="421587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095">
                  <a:extLst>
                    <a:ext uri="{9D8B030D-6E8A-4147-A177-3AD203B41FA5}">
                      <a16:colId xmlns:a16="http://schemas.microsoft.com/office/drawing/2014/main" xmlns="" val="328781730"/>
                    </a:ext>
                  </a:extLst>
                </a:gridCol>
                <a:gridCol w="972699">
                  <a:extLst>
                    <a:ext uri="{9D8B030D-6E8A-4147-A177-3AD203B41FA5}">
                      <a16:colId xmlns:a16="http://schemas.microsoft.com/office/drawing/2014/main" xmlns="" val="1436604440"/>
                    </a:ext>
                  </a:extLst>
                </a:gridCol>
                <a:gridCol w="3650673">
                  <a:extLst>
                    <a:ext uri="{9D8B030D-6E8A-4147-A177-3AD203B41FA5}">
                      <a16:colId xmlns:a16="http://schemas.microsoft.com/office/drawing/2014/main" xmlns="" val="2690336418"/>
                    </a:ext>
                  </a:extLst>
                </a:gridCol>
                <a:gridCol w="3105660">
                  <a:extLst>
                    <a:ext uri="{9D8B030D-6E8A-4147-A177-3AD203B41FA5}">
                      <a16:colId xmlns:a16="http://schemas.microsoft.com/office/drawing/2014/main" xmlns="" val="3559841079"/>
                    </a:ext>
                  </a:extLst>
                </a:gridCol>
              </a:tblGrid>
              <a:tr h="375354"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Мера поддержки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Срок 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Комментарии 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Вам подходит эта мера если Вы: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83047504"/>
                  </a:ext>
                </a:extLst>
              </a:tr>
              <a:tr h="498088">
                <a:tc rowSpan="2">
                  <a:txBody>
                    <a:bodyPr/>
                    <a:lstStyle/>
                    <a:p>
                      <a:pPr marL="7938" indent="0">
                        <a:tabLst/>
                      </a:pPr>
                      <a:r>
                        <a:rPr lang="ru-RU" sz="1300" b="1" dirty="0"/>
                        <a:t>Продление сроков уплаты налогов</a:t>
                      </a:r>
                    </a:p>
                  </a:txBody>
                  <a:tcPr marL="36000" marR="0"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на 6 месяцев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одление срока уплаты страховых взносов за март-май 2020 года;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200" dirty="0">
                          <a:effectLst/>
                        </a:rPr>
                        <a:t>соответствуете ОДНОВРЕМЕННО </a:t>
                      </a:r>
                      <a:br>
                        <a:rPr lang="ru-RU" sz="1200" dirty="0">
                          <a:effectLst/>
                        </a:rPr>
                      </a:br>
                      <a:r>
                        <a:rPr lang="ru-RU" sz="1200" dirty="0">
                          <a:effectLst/>
                        </a:rPr>
                        <a:t>3 требованиям: </a:t>
                      </a:r>
                    </a:p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effectLst/>
                        </a:rPr>
                        <a:t>являетесь микропредприятием</a:t>
                      </a:r>
                    </a:p>
                    <a:p>
                      <a:pPr marL="0" lvl="0" indent="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000" i="1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(Президентом РФ поручено распространить данную меру на всех субъектов МСП)</a:t>
                      </a:r>
                    </a:p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effectLst/>
                        </a:rPr>
                        <a:t>осуществляете деятельность в наиболее пострадавших отраслях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ши доходы снизились на более, чем на 10 процентов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44817141"/>
                  </a:ext>
                </a:extLst>
              </a:tr>
              <a:tr h="8301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на 4 месяц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одление срока уплаты страховых взносов за июнь и июль 2020 года и страховых взносов, исчисленных с суммы дохода </a:t>
                      </a:r>
                      <a:r>
                        <a:rPr lang="ru-RU" sz="1200" dirty="0" err="1">
                          <a:effectLst/>
                        </a:rPr>
                        <a:t>ИП</a:t>
                      </a:r>
                      <a:r>
                        <a:rPr lang="ru-RU" sz="1200" dirty="0">
                          <a:effectLst/>
                        </a:rPr>
                        <a:t>, превышающей </a:t>
                      </a:r>
                      <a:br>
                        <a:rPr lang="ru-RU" sz="1200" dirty="0">
                          <a:effectLst/>
                        </a:rPr>
                      </a:br>
                      <a:r>
                        <a:rPr lang="ru-RU" sz="1200" dirty="0">
                          <a:effectLst/>
                        </a:rPr>
                        <a:t>300 000 рублей, подлежащих уплате не позднее 1 июля 2020 года;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12080837"/>
                  </a:ext>
                </a:extLst>
              </a:tr>
              <a:tr h="76735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Снижение тарифов по страховым взносам </a:t>
                      </a:r>
                    </a:p>
                  </a:txBody>
                  <a:tcPr marL="36000" marR="5780" marT="0" marB="0"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нижен тариф по страховым взносам с 30% до 15%. Пониженный тариф распространяется не на всю заработную плату работников, а только на ту часть, которая превышает МРОТ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effectLst/>
                        </a:rPr>
                        <a:t>Включены в реестр субъектов МСП</a:t>
                      </a: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56375213"/>
                  </a:ext>
                </a:extLst>
              </a:tr>
              <a:tr h="119368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</a:rPr>
                        <a:t> </a:t>
                      </a:r>
                      <a:endParaRPr lang="ru-RU" sz="12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ериод </a:t>
                      </a:r>
                      <a:br>
                        <a:rPr lang="ru-RU" sz="1200" dirty="0">
                          <a:effectLst/>
                        </a:rPr>
                      </a:br>
                      <a:r>
                        <a:rPr lang="ru-RU" sz="1200" dirty="0">
                          <a:effectLst/>
                        </a:rPr>
                        <a:t>с 1 марта 2020 года по 1 июня 2020 год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не будут начисляться пени на сумму недоимки по налогам и страховым взносам, срок уплаты которых наступил в 2020 году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41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оответствуете ОДНОВРЕМЕННО 2 требованиям:  </a:t>
                      </a:r>
                    </a:p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effectLst/>
                        </a:rPr>
                        <a:t>являетесь </a:t>
                      </a:r>
                      <a:r>
                        <a:rPr lang="ru-RU" sz="1200" dirty="0" err="1">
                          <a:effectLst/>
                        </a:rPr>
                        <a:t>микропредприятием</a:t>
                      </a:r>
                      <a:endParaRPr lang="ru-RU" sz="1200" dirty="0">
                        <a:effectLst/>
                      </a:endParaRPr>
                    </a:p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effectLst/>
                        </a:rPr>
                        <a:t>осуществляете деятельность в наиболее пострадавших отраслях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ши доходы снизились на более, чем на 10 процентов</a:t>
                      </a:r>
                      <a:endParaRPr lang="ru-RU" sz="1200" dirty="0">
                        <a:effectLst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483762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31609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DCBDE671-4DF8-9D4E-B520-B0314B5CE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81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480099B9-760B-CA4E-8EED-6140182213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826C18E2-CE5E-2B43-BD18-5E0B1BDDF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2890" y="249254"/>
            <a:ext cx="5269894" cy="346249"/>
          </a:xfrm>
        </p:spPr>
        <p:txBody>
          <a:bodyPr/>
          <a:lstStyle/>
          <a:p>
            <a:r>
              <a:rPr lang="ru-RU" dirty="0"/>
              <a:t>МЕРЫ ПОДДЕРЖКИ МСП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4EE7D945-FCC3-7F47-9E40-29C6A864C2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1</a:t>
            </a:fld>
            <a:endParaRPr lang="ru-RU" dirty="0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182A1AD9-9D05-3044-9D2A-1D725E0E94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125631"/>
              </p:ext>
            </p:extLst>
          </p:nvPr>
        </p:nvGraphicFramePr>
        <p:xfrm>
          <a:off x="386761" y="723807"/>
          <a:ext cx="8681038" cy="438632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99945">
                  <a:extLst>
                    <a:ext uri="{9D8B030D-6E8A-4147-A177-3AD203B41FA5}">
                      <a16:colId xmlns:a16="http://schemas.microsoft.com/office/drawing/2014/main" xmlns="" val="328781730"/>
                    </a:ext>
                  </a:extLst>
                </a:gridCol>
                <a:gridCol w="781530">
                  <a:extLst>
                    <a:ext uri="{9D8B030D-6E8A-4147-A177-3AD203B41FA5}">
                      <a16:colId xmlns:a16="http://schemas.microsoft.com/office/drawing/2014/main" xmlns="" val="1436604440"/>
                    </a:ext>
                  </a:extLst>
                </a:gridCol>
                <a:gridCol w="4911437">
                  <a:extLst>
                    <a:ext uri="{9D8B030D-6E8A-4147-A177-3AD203B41FA5}">
                      <a16:colId xmlns:a16="http://schemas.microsoft.com/office/drawing/2014/main" xmlns="" val="2690336418"/>
                    </a:ext>
                  </a:extLst>
                </a:gridCol>
                <a:gridCol w="1988126">
                  <a:extLst>
                    <a:ext uri="{9D8B030D-6E8A-4147-A177-3AD203B41FA5}">
                      <a16:colId xmlns:a16="http://schemas.microsoft.com/office/drawing/2014/main" xmlns="" val="3559841079"/>
                    </a:ext>
                  </a:extLst>
                </a:gridCol>
              </a:tblGrid>
              <a:tr h="150487"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Мера поддержки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Срок 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Комментарии 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Вам подходит эта мера если Вы: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83047504"/>
                  </a:ext>
                </a:extLst>
              </a:tr>
              <a:tr h="29591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b="1" dirty="0">
                          <a:effectLst/>
                        </a:rPr>
                        <a:t>Мораторий на рост взносов </a:t>
                      </a:r>
                      <a:r>
                        <a:rPr lang="ru-RU" sz="1300" b="1" dirty="0" err="1">
                          <a:effectLst/>
                        </a:rPr>
                        <a:t>ИП</a:t>
                      </a:r>
                      <a:r>
                        <a:rPr lang="ru-RU" sz="1300" b="1" dirty="0">
                          <a:effectLst/>
                        </a:rPr>
                        <a:t> </a:t>
                      </a:r>
                      <a:endParaRPr lang="ru-RU" sz="13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до конца 2020 г.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с 2021 года взносы не вырастут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Индивидуальный предприниматель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11851567"/>
                  </a:ext>
                </a:extLst>
              </a:tr>
              <a:tr h="221933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b="1" dirty="0" err="1">
                          <a:effectLst/>
                        </a:rPr>
                        <a:t>Беспроцент-ные</a:t>
                      </a:r>
                      <a:r>
                        <a:rPr lang="ru-RU" sz="1300" b="1" dirty="0">
                          <a:effectLst/>
                        </a:rPr>
                        <a:t> </a:t>
                      </a:r>
                      <a:br>
                        <a:rPr lang="ru-RU" sz="1300" b="1" dirty="0">
                          <a:effectLst/>
                        </a:rPr>
                      </a:br>
                      <a:r>
                        <a:rPr lang="ru-RU" sz="1300" b="1" dirty="0">
                          <a:effectLst/>
                        </a:rPr>
                        <a:t>кредиты на выплату зарплат</a:t>
                      </a:r>
                      <a:endParaRPr lang="ru-RU" sz="13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1 год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Беспроцентный заём на неотложные нужды – документально подтвержденные расходы на выплату заработной платы и обязательные начисления с неё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Условия для получения кредита:</a:t>
                      </a:r>
                    </a:p>
                    <a:p>
                      <a:pPr marL="17145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effectLst/>
                        </a:rPr>
                        <a:t>компания действует не менее 1 года и  уплата налогов не менее одного раза;</a:t>
                      </a:r>
                    </a:p>
                    <a:p>
                      <a:pPr marL="17145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effectLst/>
                        </a:rPr>
                        <a:t>сохранение численности персонала на весь период кредитования </a:t>
                      </a:r>
                      <a:br>
                        <a:rPr lang="ru-RU" sz="1300" dirty="0">
                          <a:effectLst/>
                        </a:rPr>
                      </a:br>
                      <a:r>
                        <a:rPr lang="ru-RU" sz="1300" dirty="0">
                          <a:effectLst/>
                        </a:rPr>
                        <a:t>или сокращение персонала не более чем на 10% в месяц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Размер кредита рассчитывается (1 МРОТ (12 130 руб.) + социальные взносы) Х количество сотрудников Х 6 месяцев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роценты по этому кредиту будут покрыты из федерального бюджета, для заемщика они составят 0%. После шести месяцев этот кредит будет оформлен под 4%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За получением кредита можно обратиться в ПАО «Сбербанк», ПАО «ВТБ», АО «МСП банк», ПАО «Промсвязьбанк», АО «Альфа-Банк», АО «Газпромбанк», Банк «Открытие» и другие банки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1300" dirty="0">
                        <a:effectLst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стоите в реестре субъектов МСП и относитесь к категории «малое предприятие» и «микропредприятие»;</a:t>
                      </a:r>
                    </a:p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уществляете деятельность в наиболее пострадавших отраслях</a:t>
                      </a: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632402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36783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DCBDE671-4DF8-9D4E-B520-B0314B5CE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40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480099B9-760B-CA4E-8EED-6140182213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826C18E2-CE5E-2B43-BD18-5E0B1BDDF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2890" y="249254"/>
            <a:ext cx="5269894" cy="346249"/>
          </a:xfrm>
        </p:spPr>
        <p:txBody>
          <a:bodyPr/>
          <a:lstStyle/>
          <a:p>
            <a:r>
              <a:rPr lang="ru-RU" dirty="0"/>
              <a:t>МЕРЫ ПОДДЕРЖКИ МСП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4EE7D945-FCC3-7F47-9E40-29C6A864C2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2</a:t>
            </a:fld>
            <a:endParaRPr lang="ru-RU" dirty="0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182A1AD9-9D05-3044-9D2A-1D725E0E94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6184626"/>
              </p:ext>
            </p:extLst>
          </p:nvPr>
        </p:nvGraphicFramePr>
        <p:xfrm>
          <a:off x="288754" y="799091"/>
          <a:ext cx="8735769" cy="417257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145192">
                  <a:extLst>
                    <a:ext uri="{9D8B030D-6E8A-4147-A177-3AD203B41FA5}">
                      <a16:colId xmlns:a16="http://schemas.microsoft.com/office/drawing/2014/main" xmlns="" val="328781730"/>
                    </a:ext>
                  </a:extLst>
                </a:gridCol>
                <a:gridCol w="942109">
                  <a:extLst>
                    <a:ext uri="{9D8B030D-6E8A-4147-A177-3AD203B41FA5}">
                      <a16:colId xmlns:a16="http://schemas.microsoft.com/office/drawing/2014/main" xmlns="" val="1436604440"/>
                    </a:ext>
                  </a:extLst>
                </a:gridCol>
                <a:gridCol w="4714386">
                  <a:extLst>
                    <a:ext uri="{9D8B030D-6E8A-4147-A177-3AD203B41FA5}">
                      <a16:colId xmlns:a16="http://schemas.microsoft.com/office/drawing/2014/main" xmlns="" val="2690336418"/>
                    </a:ext>
                  </a:extLst>
                </a:gridCol>
                <a:gridCol w="1934082">
                  <a:extLst>
                    <a:ext uri="{9D8B030D-6E8A-4147-A177-3AD203B41FA5}">
                      <a16:colId xmlns:a16="http://schemas.microsoft.com/office/drawing/2014/main" xmlns="" val="3559841079"/>
                    </a:ext>
                  </a:extLst>
                </a:gridCol>
              </a:tblGrid>
              <a:tr h="553853"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Мера поддержки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Срок 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Комментарии 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Вам подходит эта мера если Вы: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83047504"/>
                  </a:ext>
                </a:extLst>
              </a:tr>
              <a:tr h="153364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Расширена программа льготного кредитования малого и среднего бизнеса</a:t>
                      </a:r>
                      <a:endParaRPr lang="ru-RU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бессрочно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В программе участвуют 99 российских банков, которые выдают предпринимателям кредиты по сниженной </a:t>
                      </a:r>
                      <a:br>
                        <a:rPr lang="ru-RU" sz="1200" dirty="0">
                          <a:effectLst/>
                        </a:rPr>
                      </a:br>
                      <a:r>
                        <a:rPr lang="ru-RU" sz="1200" dirty="0">
                          <a:effectLst/>
                        </a:rPr>
                        <a:t>ставке </a:t>
                      </a:r>
                      <a:r>
                        <a:rPr lang="ru-RU" sz="1200" b="1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</a:rPr>
                        <a:t>до 8,5%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Упрощены требования к заёмщику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олучать кредиты по льготной ставке смогут также </a:t>
                      </a:r>
                      <a:r>
                        <a:rPr lang="ru-RU" sz="1200" dirty="0" err="1">
                          <a:effectLst/>
                        </a:rPr>
                        <a:t>микропредприятия</a:t>
                      </a:r>
                      <a:r>
                        <a:rPr lang="ru-RU" sz="1200" dirty="0">
                          <a:effectLst/>
                        </a:rPr>
                        <a:t> в сфере торговли, занимающиеся реализацией подакцизных товаров (для </a:t>
                      </a:r>
                      <a:r>
                        <a:rPr lang="ru-RU" sz="1200" dirty="0" err="1">
                          <a:effectLst/>
                        </a:rPr>
                        <a:t>микропредприятий</a:t>
                      </a:r>
                      <a:r>
                        <a:rPr lang="ru-RU" sz="1200" dirty="0">
                          <a:effectLst/>
                        </a:rPr>
                        <a:t>, заключивших кредитные соглашения на оборотные цели в 2020 году на срок не более 2 лет).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effectLst/>
                        </a:rPr>
                        <a:t>индивидуальный предприниматель, </a:t>
                      </a:r>
                    </a:p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effectLst/>
                        </a:rPr>
                        <a:t>малый бизнес,</a:t>
                      </a:r>
                    </a:p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err="1">
                          <a:effectLst/>
                        </a:rPr>
                        <a:t>микропредприятие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3852809"/>
                  </a:ext>
                </a:extLst>
              </a:tr>
              <a:tr h="106142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Отсрочка по кредиту </a:t>
                      </a:r>
                      <a:endParaRPr lang="ru-RU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На 6 месяцев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убъекту МСП будет предоставлена в период с 1 апреля по 1 октября 2020 г. отсрочка платежа по основному долгу с продлением графика платежей по основному долгу по кредитному договору (соглашению) на 6 месяцев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оспользоваться можно при соблюдении следующих условий: - в отношении заемщика не введена процедура банкротства, деятельность заемщика не приостановлена, а заемщик – ИП не прекратил свою деятельность.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я получения соответствующей отсрочки субъекты МСП могут обратиться в банк. При этом процентная ставка по кредитному соглашению не должна увеличиваться.</a:t>
                      </a: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effectLst/>
                        </a:rPr>
                        <a:t>состоите в реестре субъектов МСП;</a:t>
                      </a:r>
                    </a:p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уществляете деятельность в наиболее пострадавших отраслях</a:t>
                      </a: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284085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52599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DCBDE671-4DF8-9D4E-B520-B0314B5CE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2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480099B9-760B-CA4E-8EED-6140182213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826C18E2-CE5E-2B43-BD18-5E0B1BDDF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2890" y="249254"/>
            <a:ext cx="5269894" cy="346249"/>
          </a:xfrm>
        </p:spPr>
        <p:txBody>
          <a:bodyPr/>
          <a:lstStyle/>
          <a:p>
            <a:r>
              <a:rPr lang="ru-RU" dirty="0"/>
              <a:t>МЕРЫ ПОДДЕРЖКИ МСП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4EE7D945-FCC3-7F47-9E40-29C6A864C2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3</a:t>
            </a:fld>
            <a:endParaRPr lang="ru-RU" dirty="0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182A1AD9-9D05-3044-9D2A-1D725E0E94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6080570"/>
              </p:ext>
            </p:extLst>
          </p:nvPr>
        </p:nvGraphicFramePr>
        <p:xfrm>
          <a:off x="323390" y="802293"/>
          <a:ext cx="8735769" cy="411200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55137">
                  <a:extLst>
                    <a:ext uri="{9D8B030D-6E8A-4147-A177-3AD203B41FA5}">
                      <a16:colId xmlns:a16="http://schemas.microsoft.com/office/drawing/2014/main" xmlns="" val="328781730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xmlns="" val="1436604440"/>
                    </a:ext>
                  </a:extLst>
                </a:gridCol>
                <a:gridCol w="5375564">
                  <a:extLst>
                    <a:ext uri="{9D8B030D-6E8A-4147-A177-3AD203B41FA5}">
                      <a16:colId xmlns:a16="http://schemas.microsoft.com/office/drawing/2014/main" xmlns="" val="2690336418"/>
                    </a:ext>
                  </a:extLst>
                </a:gridCol>
                <a:gridCol w="1695468">
                  <a:extLst>
                    <a:ext uri="{9D8B030D-6E8A-4147-A177-3AD203B41FA5}">
                      <a16:colId xmlns:a16="http://schemas.microsoft.com/office/drawing/2014/main" xmlns="" val="3559841079"/>
                    </a:ext>
                  </a:extLst>
                </a:gridCol>
              </a:tblGrid>
              <a:tr h="219785"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Мера поддержки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Срок 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Комментарии 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Вам подходит эта мера если Вы: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83047504"/>
                  </a:ext>
                </a:extLst>
              </a:tr>
              <a:tr h="235931">
                <a:tc>
                  <a:txBody>
                    <a:bodyPr/>
                    <a:lstStyle/>
                    <a:p>
                      <a:pPr algn="l">
                        <a:spcAft>
                          <a:spcPts val="750"/>
                        </a:spcAft>
                      </a:pPr>
                      <a:r>
                        <a:rPr lang="ru-RU" sz="1200" b="1" dirty="0">
                          <a:effectLst/>
                        </a:rPr>
                        <a:t>Кредитные каникулы</a:t>
                      </a:r>
                      <a:endParaRPr lang="ru-RU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На 6 месяцев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Для индивидуальных предпринимателей , которые столкнулись с резким падением доходов из-за эпидемии коронавируса (ниже 30%), и для и субъектов МСП, осуществляющих деятельность в наиболее пострадавших отраслях, предусмотрены кредитные каникулы (или уменьшение  размера платежа) по кредиту на срок до 6 месяцев. 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Данные лица, заключившие до 03.04.2020 кредитный договор, вправе не позднее 30.09.2020 обратиться в банк с требованием об изменении его условий.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Льготный период, на который приостанавливается исполнение, определяется заемщиком в заявлении и не может превышать 6 месяцев. 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41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effectLst/>
                        </a:rPr>
                        <a:t>индивидуальный предприниматель;</a:t>
                      </a:r>
                    </a:p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200" dirty="0">
                          <a:effectLst/>
                        </a:rPr>
                        <a:t>ИЛИ</a:t>
                      </a:r>
                    </a:p>
                    <a:p>
                      <a:pPr marL="285750" indent="-28575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effectLst/>
                        </a:rPr>
                        <a:t>субъект МСП, осуществляющий деятельность в наиболее пострадавших отрасл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4652235"/>
                  </a:ext>
                </a:extLst>
              </a:tr>
              <a:tr h="88166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Снижение требований к обеспечению </a:t>
                      </a:r>
                      <a:r>
                        <a:rPr lang="ru-RU" sz="1200" b="1" dirty="0" err="1">
                          <a:effectLst/>
                        </a:rPr>
                        <a:t>госконтрактов</a:t>
                      </a:r>
                      <a:endParaRPr lang="ru-RU" sz="1200" b="1" dirty="0">
                        <a:effectLst/>
                      </a:endParaRPr>
                    </a:p>
                    <a:p>
                      <a:pPr algn="l">
                        <a:spcAft>
                          <a:spcPts val="75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до 31 декабря 2020 год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 31 декабря 2020 года при осуществлении закупок с участием субъектов МСП заказчик вправе не устанавливать требование обеспечения исполнения контракта, обеспечения гарантийных обязательств в извещении об осуществлении закупки и (или) в проекте контракта, за исключением случая, если контрактом предусмотрена выплата аванса.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2020 году по соглашению сторон допускается изменение срока исполнения контракта, и (или) цены контракта, и (или) цены единицы товара, работы, услуги, если при его исполнении в связи с распространением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ронавирусной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нфекции, а также в иных случаях возникли независящие от сторон контракта обстоятельства, влекущие невозможность его исполнения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5780" marR="41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effectLst/>
                        </a:rPr>
                        <a:t>индивидуальный предприниматель, 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effectLst/>
                        </a:rPr>
                        <a:t>малый бизнес,</a:t>
                      </a:r>
                    </a:p>
                    <a:p>
                      <a:pPr marL="171450" lvl="0" indent="-17145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err="1">
                          <a:effectLst/>
                        </a:rPr>
                        <a:t>микропредприятие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126585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82592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ADF5AF4C-D813-1E4D-8C03-3B7076A9E9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1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512DF1BC-DCD4-9046-AA26-BAD251D705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4815125A-B5F2-DB41-92F9-30FF8E541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8669" y="249254"/>
            <a:ext cx="5264116" cy="623248"/>
          </a:xfrm>
        </p:spPr>
        <p:txBody>
          <a:bodyPr/>
          <a:lstStyle/>
          <a:p>
            <a:r>
              <a:rPr lang="ru-RU" dirty="0"/>
              <a:t>МЕРЫ ПОДДЕРЖКИ МСП </a:t>
            </a:r>
            <a:br>
              <a:rPr lang="ru-RU" dirty="0"/>
            </a:br>
            <a:r>
              <a:rPr lang="ru-RU" dirty="0"/>
              <a:t>МОСКОВСКОЙ ОБЛАСТИ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131BCB8C-0E63-3C48-BB43-7ABF28DCDF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E0AAD61E-FEF0-CD49-BFFD-AEA3BC62F905}"/>
              </a:ext>
            </a:extLst>
          </p:cNvPr>
          <p:cNvSpPr txBox="1"/>
          <p:nvPr/>
        </p:nvSpPr>
        <p:spPr>
          <a:xfrm>
            <a:off x="435938" y="1156520"/>
            <a:ext cx="8410669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buClr>
                <a:schemeClr val="bg2"/>
              </a:buClr>
            </a:pPr>
            <a:r>
              <a:rPr lang="ru-RU" sz="1300" b="1" dirty="0">
                <a:solidFill>
                  <a:schemeClr val="bg1"/>
                </a:solidFill>
              </a:rPr>
              <a:t>	</a:t>
            </a:r>
            <a:r>
              <a:rPr lang="ru-RU" b="1" dirty="0"/>
              <a:t>Фонд микрофинансирования МО:</a:t>
            </a:r>
            <a:endParaRPr lang="ru-RU" b="1" dirty="0">
              <a:solidFill>
                <a:schemeClr val="bg1"/>
              </a:solidFill>
            </a:endParaRPr>
          </a:p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Реструктуризация ранее выданных микрозаймов до 30 сентября 2020 года</a:t>
            </a:r>
          </a:p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Предоставление микрозаймов под ставку 6% годовых </a:t>
            </a:r>
          </a:p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Предоставление льготных </a:t>
            </a:r>
            <a:r>
              <a:rPr lang="ru-RU" dirty="0" err="1"/>
              <a:t>микрозаймов</a:t>
            </a:r>
            <a:r>
              <a:rPr lang="ru-RU" dirty="0"/>
              <a:t> в сумме 5 млн. руб. на 3 года с погашением в конце срока для производства товаров (работ, услуг), используемых для предупреждения и ликвидации чрезвычайных ситуаций</a:t>
            </a:r>
          </a:p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ru-RU" dirty="0"/>
          </a:p>
          <a:p>
            <a:pPr lvl="0">
              <a:spcBef>
                <a:spcPts val="300"/>
              </a:spcBef>
              <a:buClr>
                <a:schemeClr val="bg2"/>
              </a:buClr>
            </a:pPr>
            <a:r>
              <a:rPr lang="ru-RU" dirty="0"/>
              <a:t>	</a:t>
            </a:r>
            <a:r>
              <a:rPr lang="ru-RU" b="1" dirty="0"/>
              <a:t>Фонд развития промышленности МО:</a:t>
            </a:r>
          </a:p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Предоставляются  льготные займы от 20 до 150 млн руб. от 1 до 5% </a:t>
            </a:r>
          </a:p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ru-RU" dirty="0"/>
          </a:p>
          <a:p>
            <a:pPr lvl="0">
              <a:spcBef>
                <a:spcPts val="300"/>
              </a:spcBef>
              <a:buClr>
                <a:schemeClr val="bg2"/>
              </a:buClr>
            </a:pPr>
            <a:r>
              <a:rPr lang="ru-RU" dirty="0"/>
              <a:t>	</a:t>
            </a:r>
            <a:r>
              <a:rPr lang="ru-RU" b="1" dirty="0"/>
              <a:t>Гарантийный фонд МО:</a:t>
            </a:r>
          </a:p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Снижена стоимость поручительства до 0,75% в приоритетных отраслях</a:t>
            </a:r>
          </a:p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Увеличение срока представления поручительств по кредитам до 10 лет </a:t>
            </a:r>
          </a:p>
          <a:p>
            <a:pPr marL="17145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Организация взаимодействия с крупнейшими банками и разработка совместных программ поддержки</a:t>
            </a:r>
          </a:p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14017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sz="2600" b="1" dirty="0">
                <a:solidFill>
                  <a:schemeClr val="accent2">
                    <a:lumMod val="75000"/>
                  </a:schemeClr>
                </a:solidFill>
              </a:rPr>
              <a:t>Выдаются субсидии на:</a:t>
            </a:r>
          </a:p>
          <a:p>
            <a:pPr marL="0" indent="0">
              <a:buNone/>
            </a:pPr>
            <a:endParaRPr lang="ru-RU" sz="2600" b="1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sz="2000" dirty="0"/>
              <a:t> частичную компенсацию затрат на приобретение оборудования – до 50 % затрат, но не более 10 млн. рублей, а для  производства товаров используемых для предупреждения и ликвидации чрезвычайных ситуаций (маски) – до 80%, но не более 30 млн. рублей.</a:t>
            </a:r>
          </a:p>
          <a:p>
            <a:r>
              <a:rPr lang="ru-RU" sz="2000" dirty="0"/>
              <a:t>частичную компенсацию первого взноса (аванса) при заключении договора лизинга оборудования - до 70% аванса, но не более 5 млн рублей. </a:t>
            </a:r>
          </a:p>
          <a:p>
            <a:r>
              <a:rPr lang="ru-RU" sz="2000" dirty="0"/>
              <a:t>частичную компенсацию затрат социально-ориентированных субъектов МСП (социальное обслуживание граждан, здравоохранение, проведение занятий в детских кружках, секциях, студиях, производство медицинской техники, протезно-ортопедических изделий, предоставление образовательных услуг) до 85%, но не более 2 млн. рублей, если это ясли для детей в возрасте до 3 лет, не более 3 млн. рублей.  </a:t>
            </a:r>
          </a:p>
          <a:p>
            <a:r>
              <a:rPr lang="ru-RU" sz="2000" dirty="0"/>
              <a:t>частичную компенсацию затрат субъектам МСП, осуществляющим деятельность в сфере физической культуры и спорта до 50 %, но не более 10 млн. на  инженерные изыскания, проектную документацию, ремонт, инженерную инфраструктуру, приобретение оборудования</a:t>
            </a:r>
            <a:r>
              <a:rPr lang="ru-RU" sz="2200" dirty="0"/>
              <a:t>.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623248"/>
          </a:xfrm>
        </p:spPr>
        <p:txBody>
          <a:bodyPr/>
          <a:lstStyle/>
          <a:p>
            <a:r>
              <a:rPr lang="ru-RU" dirty="0"/>
              <a:t>МЕРЫ ПОДДЕРЖКИ МСП </a:t>
            </a:r>
            <a:br>
              <a:rPr lang="ru-RU" dirty="0"/>
            </a:br>
            <a:r>
              <a:rPr lang="ru-RU" dirty="0"/>
              <a:t>МОСКОВСКОЙ ОБЛАСТИ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0070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ADF5AF4C-D813-1E4D-8C03-3B7076A9E9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6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512DF1BC-DCD4-9046-AA26-BAD251D705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4815125A-B5F2-DB41-92F9-30FF8E541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293" y="70499"/>
            <a:ext cx="5264116" cy="623248"/>
          </a:xfrm>
        </p:spPr>
        <p:txBody>
          <a:bodyPr/>
          <a:lstStyle/>
          <a:p>
            <a:r>
              <a:rPr lang="ru-RU" dirty="0"/>
              <a:t>МЕРЫ ПОДДЕРЖКИ МСП </a:t>
            </a:r>
            <a:br>
              <a:rPr lang="ru-RU" dirty="0"/>
            </a:br>
            <a:r>
              <a:rPr lang="ru-RU" dirty="0"/>
              <a:t>МОСКОВСКОЙ ОБЛАСТИ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131BCB8C-0E63-3C48-BB43-7ABF28DCDF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E0AAD61E-FEF0-CD49-BFFD-AEA3BC62F905}"/>
              </a:ext>
            </a:extLst>
          </p:cNvPr>
          <p:cNvSpPr txBox="1"/>
          <p:nvPr/>
        </p:nvSpPr>
        <p:spPr>
          <a:xfrm>
            <a:off x="366665" y="935445"/>
            <a:ext cx="8410669" cy="38318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Предоставление арендаторам в наиболее пострадавших отраслях государственной и муниципальной собственности до 01.10.2020 отсрочки по уплате арендных платежей  с ее выплатой равными частями в течение 2021–2022 годов</a:t>
            </a:r>
          </a:p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Освобождение от уплаты налога на имущество организаций и земельного налога с 01.03.2020 по 01.07.2020 для собственников объектов недвижимости (торговых центров, объектов торговли, общепита и бытового обслуживания) при условии снижения ставок  арендной платы для арендаторов, приостановивших свою деятельность в связи с введением режима повышенной готовности</a:t>
            </a:r>
          </a:p>
          <a:p>
            <a:pPr marL="17145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Увеличение доли закупок среди субъектов малого и среднего предпринимательства, социально ориентированных некоммерческих организаций, осуществляемых в соответствии с Федеральным законом от 05.04.2013 № 44-ФЗ, с 25% до 30%</a:t>
            </a:r>
          </a:p>
          <a:p>
            <a:pPr marL="17145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Выплата авансовых платежей до 30% для субъектов малого и среднего предпринимательства государственными и муниципальными заказчиками</a:t>
            </a:r>
            <a:endParaRPr lang="ru-RU" sz="1300" dirty="0">
              <a:highlight>
                <a:srgbClr val="00FF00"/>
              </a:highlight>
            </a:endParaRPr>
          </a:p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Введение для малых форматов торговли отсрочки на 6 месяцев платежей по договорам за размещение нестационарных торговых объектов (НТО), продление схем размещения нестационарных торговых объектов (НТО) на 12 месяцев</a:t>
            </a:r>
          </a:p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Предоставление грантов субъектам туристического бизнеса Московской области, специализирующимся на продвижении туризма в муниципальных образованиях Московской области </a:t>
            </a:r>
          </a:p>
          <a:p>
            <a:pPr marL="171450" lvl="0" indent="-17145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Создание товарного знака «Сделано в Подмосковье»</a:t>
            </a:r>
          </a:p>
        </p:txBody>
      </p:sp>
    </p:spTree>
    <p:extLst>
      <p:ext uri="{BB962C8B-B14F-4D97-AF65-F5344CB8AC3E}">
        <p14:creationId xmlns:p14="http://schemas.microsoft.com/office/powerpoint/2010/main" val="17211379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ADF5AF4C-D813-1E4D-8C03-3B7076A9E9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017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04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512DF1BC-DCD4-9046-AA26-BAD251D705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4815125A-B5F2-DB41-92F9-30FF8E541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8669" y="249254"/>
            <a:ext cx="5264116" cy="623248"/>
          </a:xfrm>
        </p:spPr>
        <p:txBody>
          <a:bodyPr/>
          <a:lstStyle/>
          <a:p>
            <a:r>
              <a:rPr lang="ru-RU" dirty="0"/>
              <a:t>Какие сферы признаны наиболее пострадавшими? 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131BCB8C-0E63-3C48-BB43-7ABF28DCDF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E0AAD61E-FEF0-CD49-BFFD-AEA3BC62F905}"/>
              </a:ext>
            </a:extLst>
          </p:cNvPr>
          <p:cNvSpPr txBox="1"/>
          <p:nvPr/>
        </p:nvSpPr>
        <p:spPr>
          <a:xfrm>
            <a:off x="1783384" y="1214571"/>
            <a:ext cx="5705980" cy="32008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авиаперевозки, аэропортовая деятельность, автоперевозки;</a:t>
            </a:r>
          </a:p>
          <a:p>
            <a:pPr marL="171450" lvl="0" indent="-1714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культура, организация досуга и развлечений;</a:t>
            </a:r>
          </a:p>
          <a:p>
            <a:pPr marL="171450" lvl="0" indent="-1714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физкультурно-оздоровительная деятельность и спорт;</a:t>
            </a:r>
          </a:p>
          <a:p>
            <a:pPr marL="171450" lvl="0" indent="-1714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деятельность туристических агентств и прочих организаций, предоставляющих услуги в сфере туризма;</a:t>
            </a:r>
          </a:p>
          <a:p>
            <a:pPr marL="171450" lvl="0" indent="-1714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гостиничный бизнес;</a:t>
            </a:r>
          </a:p>
          <a:p>
            <a:pPr marL="171450" lvl="0" indent="-1714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общественное питание;</a:t>
            </a:r>
          </a:p>
          <a:p>
            <a:pPr marL="171450" lvl="0" indent="-1714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деятельность организаций дополнительного образования, негосударственных образовательных учреждений;</a:t>
            </a:r>
          </a:p>
          <a:p>
            <a:pPr marL="171450" lvl="0" indent="-1714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деятельность по организации конференций и выставок;</a:t>
            </a:r>
          </a:p>
          <a:p>
            <a:pPr marL="171450" lvl="0" indent="-1714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/>
              <a:t>деятельность по предоставлению бытовых услуг населению (ремонт, стирка, химчистка, услуги парикмахерских и салонов красоты)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B2669C66-D1A2-B641-8423-9AB4F2919D80}"/>
              </a:ext>
            </a:extLst>
          </p:cNvPr>
          <p:cNvSpPr txBox="1"/>
          <p:nvPr/>
        </p:nvSpPr>
        <p:spPr>
          <a:xfrm>
            <a:off x="1268602" y="4525513"/>
            <a:ext cx="642011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i="1" dirty="0">
                <a:solidFill>
                  <a:schemeClr val="accent1"/>
                </a:solidFill>
              </a:rPr>
              <a:t>Организации и индивидуальные предприниматели, занятые в этих сферах по основному виду деятельности согласно ОКВЭД, получат первоочередную адресную поддержку.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1B544322-25CD-C848-ADAA-C0AA48D7FC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87143" y="1167086"/>
            <a:ext cx="273407" cy="273407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F0B4854F-C8DB-3841-AFB6-A387D72866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87143" y="2164503"/>
            <a:ext cx="273407" cy="273407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47EF5D34-9911-8247-9CB0-825FE85683C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69395" y="3985969"/>
            <a:ext cx="273844" cy="273844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4BF288B6-5B95-324F-9682-38A7338371A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75238" y="3202708"/>
            <a:ext cx="269407" cy="269407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CC5940A3-49EA-0D47-BECC-4725DB94EA8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87143" y="3637835"/>
            <a:ext cx="252955" cy="25295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CAAD1E2A-74AB-C548-AC49-7764F830FBD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97369" y="1806205"/>
            <a:ext cx="252955" cy="252955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4F5423EC-D022-DD43-9065-8DF12C0246A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397369" y="2576555"/>
            <a:ext cx="252955" cy="25295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CC30F371-F08C-694E-8EB7-91F06B9012C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404453" y="1486856"/>
            <a:ext cx="238786" cy="238786"/>
          </a:xfrm>
          <a:prstGeom prst="rect">
            <a:avLst/>
          </a:prstGeom>
        </p:spPr>
      </p:pic>
      <p:sp>
        <p:nvSpPr>
          <p:cNvPr id="17" name="Freeform 18">
            <a:extLst>
              <a:ext uri="{FF2B5EF4-FFF2-40B4-BE49-F238E27FC236}">
                <a16:creationId xmlns:a16="http://schemas.microsoft.com/office/drawing/2014/main" xmlns="" id="{51010603-98C4-479D-807F-B4FE814F7260}"/>
              </a:ext>
            </a:extLst>
          </p:cNvPr>
          <p:cNvSpPr/>
          <p:nvPr/>
        </p:nvSpPr>
        <p:spPr>
          <a:xfrm>
            <a:off x="1392191" y="2867557"/>
            <a:ext cx="224962" cy="230893"/>
          </a:xfrm>
          <a:custGeom>
            <a:avLst/>
            <a:gdLst/>
            <a:ahLst/>
            <a:cxnLst/>
            <a:rect l="l" t="t" r="r" b="b"/>
            <a:pathLst>
              <a:path w="3307788" h="2669631">
                <a:moveTo>
                  <a:pt x="2793832" y="1478391"/>
                </a:moveTo>
                <a:cubicBezTo>
                  <a:pt x="2772990" y="1635402"/>
                  <a:pt x="2717678" y="1784517"/>
                  <a:pt x="2633007" y="1915952"/>
                </a:cubicBezTo>
                <a:cubicBezTo>
                  <a:pt x="2695386" y="1951862"/>
                  <a:pt x="2772768" y="1955673"/>
                  <a:pt x="2841607" y="1924185"/>
                </a:cubicBezTo>
                <a:cubicBezTo>
                  <a:pt x="2943442" y="1877605"/>
                  <a:pt x="2999062" y="1766364"/>
                  <a:pt x="2975226" y="1656948"/>
                </a:cubicBezTo>
                <a:cubicBezTo>
                  <a:pt x="2955176" y="1564911"/>
                  <a:pt x="2883463" y="1495086"/>
                  <a:pt x="2793832" y="1478391"/>
                </a:cubicBezTo>
                <a:close/>
                <a:moveTo>
                  <a:pt x="2807611" y="1247700"/>
                </a:moveTo>
                <a:lnTo>
                  <a:pt x="2807472" y="1256060"/>
                </a:lnTo>
                <a:cubicBezTo>
                  <a:pt x="2994195" y="1281771"/>
                  <a:pt x="3148201" y="1421768"/>
                  <a:pt x="3189276" y="1610317"/>
                </a:cubicBezTo>
                <a:cubicBezTo>
                  <a:pt x="3235041" y="1820393"/>
                  <a:pt x="3128252" y="2033972"/>
                  <a:pt x="2932732" y="2123406"/>
                </a:cubicBezTo>
                <a:cubicBezTo>
                  <a:pt x="2789297" y="2189015"/>
                  <a:pt x="2626543" y="2174805"/>
                  <a:pt x="2499470" y="2094044"/>
                </a:cubicBezTo>
                <a:cubicBezTo>
                  <a:pt x="2427194" y="2172627"/>
                  <a:pt x="2343030" y="2241391"/>
                  <a:pt x="2248861" y="2297980"/>
                </a:cubicBezTo>
                <a:cubicBezTo>
                  <a:pt x="2178351" y="2340352"/>
                  <a:pt x="2104446" y="2374567"/>
                  <a:pt x="2027600" y="2398134"/>
                </a:cubicBezTo>
                <a:lnTo>
                  <a:pt x="3307788" y="2397615"/>
                </a:lnTo>
                <a:cubicBezTo>
                  <a:pt x="3265361" y="2549905"/>
                  <a:pt x="2537441" y="2669620"/>
                  <a:pt x="1653814" y="2669631"/>
                </a:cubicBezTo>
                <a:cubicBezTo>
                  <a:pt x="773102" y="2669642"/>
                  <a:pt x="46417" y="2550707"/>
                  <a:pt x="0" y="2398955"/>
                </a:cubicBezTo>
                <a:lnTo>
                  <a:pt x="1280678" y="2398436"/>
                </a:lnTo>
                <a:cubicBezTo>
                  <a:pt x="1203764" y="2374915"/>
                  <a:pt x="1129786" y="2340732"/>
                  <a:pt x="1059201" y="2298380"/>
                </a:cubicBezTo>
                <a:cubicBezTo>
                  <a:pt x="693039" y="2078675"/>
                  <a:pt x="477900" y="1674935"/>
                  <a:pt x="499745" y="1248476"/>
                </a:cubicBezTo>
                <a:close/>
                <a:moveTo>
                  <a:pt x="1331611" y="201752"/>
                </a:moveTo>
                <a:cubicBezTo>
                  <a:pt x="1206335" y="290902"/>
                  <a:pt x="1124761" y="308382"/>
                  <a:pt x="1132336" y="435988"/>
                </a:cubicBezTo>
                <a:cubicBezTo>
                  <a:pt x="1160888" y="640507"/>
                  <a:pt x="1527973" y="617783"/>
                  <a:pt x="1498839" y="840365"/>
                </a:cubicBezTo>
                <a:cubicBezTo>
                  <a:pt x="1455138" y="960979"/>
                  <a:pt x="1395705" y="987199"/>
                  <a:pt x="1213910" y="1052459"/>
                </a:cubicBezTo>
                <a:cubicBezTo>
                  <a:pt x="1331028" y="972050"/>
                  <a:pt x="1364241" y="921357"/>
                  <a:pt x="1360745" y="809484"/>
                </a:cubicBezTo>
                <a:cubicBezTo>
                  <a:pt x="1360746" y="646916"/>
                  <a:pt x="1111360" y="626523"/>
                  <a:pt x="1020462" y="495421"/>
                </a:cubicBezTo>
                <a:cubicBezTo>
                  <a:pt x="941218" y="374224"/>
                  <a:pt x="1061250" y="280996"/>
                  <a:pt x="1331611" y="201752"/>
                </a:cubicBezTo>
                <a:close/>
                <a:moveTo>
                  <a:pt x="2164365" y="80223"/>
                </a:moveTo>
                <a:cubicBezTo>
                  <a:pt x="2021192" y="182108"/>
                  <a:pt x="1927964" y="202086"/>
                  <a:pt x="1936621" y="347922"/>
                </a:cubicBezTo>
                <a:cubicBezTo>
                  <a:pt x="1969252" y="581657"/>
                  <a:pt x="2388778" y="555687"/>
                  <a:pt x="2355482" y="810066"/>
                </a:cubicBezTo>
                <a:cubicBezTo>
                  <a:pt x="2305538" y="947910"/>
                  <a:pt x="2237615" y="977876"/>
                  <a:pt x="2029849" y="1052459"/>
                </a:cubicBezTo>
                <a:cubicBezTo>
                  <a:pt x="2163698" y="960563"/>
                  <a:pt x="2201656" y="902628"/>
                  <a:pt x="2197660" y="774773"/>
                </a:cubicBezTo>
                <a:cubicBezTo>
                  <a:pt x="2197661" y="588982"/>
                  <a:pt x="1912649" y="565676"/>
                  <a:pt x="1808765" y="415844"/>
                </a:cubicBezTo>
                <a:cubicBezTo>
                  <a:pt x="1718201" y="277334"/>
                  <a:pt x="1855380" y="170787"/>
                  <a:pt x="2164365" y="80223"/>
                </a:cubicBezTo>
                <a:close/>
                <a:moveTo>
                  <a:pt x="1754169" y="0"/>
                </a:moveTo>
                <a:cubicBezTo>
                  <a:pt x="1583512" y="121444"/>
                  <a:pt x="1472387" y="145257"/>
                  <a:pt x="1482706" y="319088"/>
                </a:cubicBezTo>
                <a:cubicBezTo>
                  <a:pt x="1521601" y="597693"/>
                  <a:pt x="2021663" y="566738"/>
                  <a:pt x="1981975" y="869950"/>
                </a:cubicBezTo>
                <a:cubicBezTo>
                  <a:pt x="1922443" y="1034256"/>
                  <a:pt x="1841481" y="1069974"/>
                  <a:pt x="1593831" y="1158875"/>
                </a:cubicBezTo>
                <a:cubicBezTo>
                  <a:pt x="1753374" y="1049338"/>
                  <a:pt x="1798619" y="980281"/>
                  <a:pt x="1793856" y="827882"/>
                </a:cubicBezTo>
                <a:cubicBezTo>
                  <a:pt x="1793857" y="606424"/>
                  <a:pt x="1454132" y="578644"/>
                  <a:pt x="1330306" y="400050"/>
                </a:cubicBezTo>
                <a:cubicBezTo>
                  <a:pt x="1222356" y="234950"/>
                  <a:pt x="1385869" y="107950"/>
                  <a:pt x="1754169" y="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rgbClr val="4E14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927758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BE124251-8DAF-7943-9F5A-245EE649C7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077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23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552CBC5F-67A8-A149-9BE3-822A422EA7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05A25F81-F0C5-1945-B472-F8930B1CA8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2" y="339486"/>
            <a:ext cx="5231062" cy="346249"/>
          </a:xfrm>
        </p:spPr>
        <p:txBody>
          <a:bodyPr/>
          <a:lstStyle/>
          <a:p>
            <a:r>
              <a:rPr lang="ru-RU" dirty="0"/>
              <a:t>Меры поддержки БИЗНЕС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999DCA43-DE24-CB4D-BEEA-51ADEF2441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2</a:t>
            </a:fld>
            <a:endParaRPr lang="ru-RU" dirty="0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5DDC9462-1CA9-FA47-BE75-104798EF30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9745573"/>
              </p:ext>
            </p:extLst>
          </p:nvPr>
        </p:nvGraphicFramePr>
        <p:xfrm>
          <a:off x="294781" y="1120893"/>
          <a:ext cx="8554437" cy="360485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552126">
                  <a:extLst>
                    <a:ext uri="{9D8B030D-6E8A-4147-A177-3AD203B41FA5}">
                      <a16:colId xmlns:a16="http://schemas.microsoft.com/office/drawing/2014/main" xmlns="" val="3347501338"/>
                    </a:ext>
                  </a:extLst>
                </a:gridCol>
                <a:gridCol w="1443548">
                  <a:extLst>
                    <a:ext uri="{9D8B030D-6E8A-4147-A177-3AD203B41FA5}">
                      <a16:colId xmlns:a16="http://schemas.microsoft.com/office/drawing/2014/main" xmlns="" val="1514736649"/>
                    </a:ext>
                  </a:extLst>
                </a:gridCol>
                <a:gridCol w="5558763">
                  <a:extLst>
                    <a:ext uri="{9D8B030D-6E8A-4147-A177-3AD203B41FA5}">
                      <a16:colId xmlns:a16="http://schemas.microsoft.com/office/drawing/2014/main" xmlns="" val="1340156055"/>
                    </a:ext>
                  </a:extLst>
                </a:gridCol>
              </a:tblGrid>
              <a:tr h="45441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bg1"/>
                          </a:solidFill>
                          <a:effectLst/>
                        </a:rPr>
                        <a:t>Мера поддержки</a:t>
                      </a:r>
                      <a:endParaRPr lang="ru-RU" sz="15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bg1"/>
                          </a:solidFill>
                          <a:effectLst/>
                        </a:rPr>
                        <a:t>Срок </a:t>
                      </a:r>
                      <a:endParaRPr lang="ru-RU" sz="15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bg1"/>
                          </a:solidFill>
                          <a:effectLst/>
                        </a:rPr>
                        <a:t>Комментарии </a:t>
                      </a:r>
                      <a:endParaRPr lang="ru-RU" sz="15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75269560"/>
                  </a:ext>
                </a:extLst>
              </a:tr>
              <a:tr h="1216704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500" b="1" dirty="0">
                          <a:effectLst/>
                        </a:rPr>
                        <a:t>Продление срока предоставления отчетности</a:t>
                      </a:r>
                      <a:endParaRPr lang="ru-RU" sz="15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На 3 месяца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Что продлевается :</a:t>
                      </a:r>
                    </a:p>
                    <a:p>
                      <a:pPr marL="269875" indent="-269875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/>
                      </a:pPr>
                      <a:r>
                        <a:rPr lang="ru-RU" sz="1500" dirty="0">
                          <a:effectLst/>
                        </a:rPr>
                        <a:t>Представление  всех деклараций (расчетов по авансовым платежам), кроме НДС, бухгалтерской отчетности, срок сдачи которых приходится на март-май 2020 года.</a:t>
                      </a: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09820378"/>
                  </a:ext>
                </a:extLst>
              </a:tr>
              <a:tr h="5999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на 20 рабочих дней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2. Представление документов, пояснений по требованиям, полученным в срок с 1 марта до 1 июня 2020 года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30485894"/>
                  </a:ext>
                </a:extLst>
              </a:tr>
              <a:tr h="5999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на 10 рабочих дней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</a:rPr>
                        <a:t>3. Представление документов, пояснений по требованиям по НДС, полученным в срок с 1 марта до 1 июня 2020 года в рамках камеральных налоговых проверок деклараций по НДС.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58933414"/>
                  </a:ext>
                </a:extLst>
              </a:tr>
              <a:tr h="5999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5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 15 мая 2020 г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. 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ставление налоговых деклараций по НДС и расчетов по страховым взносам за I квартал 2020 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297424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6588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BE124251-8DAF-7943-9F5A-245EE649C7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391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12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552CBC5F-67A8-A149-9BE3-822A422EA7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05A25F81-F0C5-1945-B472-F8930B1CA8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2668" y="249254"/>
            <a:ext cx="5231062" cy="346249"/>
          </a:xfrm>
        </p:spPr>
        <p:txBody>
          <a:bodyPr/>
          <a:lstStyle/>
          <a:p>
            <a:r>
              <a:rPr lang="ru-RU" dirty="0"/>
              <a:t>Меры поддержки БИЗНЕС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999DCA43-DE24-CB4D-BEEA-51ADEF2441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3</a:t>
            </a:fld>
            <a:endParaRPr lang="ru-RU" dirty="0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5DDC9462-1CA9-FA47-BE75-104798EF30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3740427"/>
              </p:ext>
            </p:extLst>
          </p:nvPr>
        </p:nvGraphicFramePr>
        <p:xfrm>
          <a:off x="403654" y="675315"/>
          <a:ext cx="8680887" cy="440194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02582">
                  <a:extLst>
                    <a:ext uri="{9D8B030D-6E8A-4147-A177-3AD203B41FA5}">
                      <a16:colId xmlns:a16="http://schemas.microsoft.com/office/drawing/2014/main" xmlns="" val="3347501338"/>
                    </a:ext>
                  </a:extLst>
                </a:gridCol>
                <a:gridCol w="623455">
                  <a:extLst>
                    <a:ext uri="{9D8B030D-6E8A-4147-A177-3AD203B41FA5}">
                      <a16:colId xmlns:a16="http://schemas.microsoft.com/office/drawing/2014/main" xmlns="" val="1514736649"/>
                    </a:ext>
                  </a:extLst>
                </a:gridCol>
                <a:gridCol w="7054850">
                  <a:extLst>
                    <a:ext uri="{9D8B030D-6E8A-4147-A177-3AD203B41FA5}">
                      <a16:colId xmlns:a16="http://schemas.microsoft.com/office/drawing/2014/main" xmlns="" val="1340156055"/>
                    </a:ext>
                  </a:extLst>
                </a:gridCol>
              </a:tblGrid>
              <a:tr h="24444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Мера поддержки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Срок 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</a:rPr>
                        <a:t>Комментарии 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75269560"/>
                  </a:ext>
                </a:extLst>
              </a:tr>
              <a:tr h="747691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Запрет на проверки, взыскания и санкции со стороны ФНС </a:t>
                      </a:r>
                      <a:br>
                        <a:rPr lang="ru-RU" sz="1200" b="1" dirty="0">
                          <a:effectLst/>
                        </a:rPr>
                      </a:br>
                      <a:r>
                        <a:rPr lang="ru-RU" sz="1200" b="1" dirty="0">
                          <a:effectLst/>
                        </a:rPr>
                        <a:t>и КНО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Блокировка счетов</a:t>
                      </a:r>
                      <a:endParaRPr lang="ru-RU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до 31 мая 2020 года включительно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иостановлено:</a:t>
                      </a:r>
                    </a:p>
                    <a:p>
                      <a:pPr marL="179388" indent="-179388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/>
                      </a:pPr>
                      <a:r>
                        <a:rPr lang="ru-RU" sz="1200" dirty="0">
                          <a:effectLst/>
                        </a:rPr>
                        <a:t>вынесение решений о проведении выездных (повторных выездных) налоговых проверок, проверок полноты исчисления и уплаты налогов в связи с совершением сделок между взаимозависимыми лицами,</a:t>
                      </a:r>
                    </a:p>
                    <a:p>
                      <a:pPr marL="179388" indent="-179388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/>
                      </a:pPr>
                      <a:r>
                        <a:rPr lang="ru-RU" sz="1200" dirty="0">
                          <a:effectLst/>
                        </a:rPr>
                        <a:t>проведение уже назначенных выездных (повторных выездных) налоговых проверок,</a:t>
                      </a:r>
                    </a:p>
                    <a:p>
                      <a:pPr marL="179388" indent="-179388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/>
                      </a:pPr>
                      <a:r>
                        <a:rPr lang="ru-RU" sz="1200" dirty="0">
                          <a:effectLst/>
                        </a:rPr>
                        <a:t>проведение проверок соблюдения валютного законодательства, за исключением случаев, когда по </a:t>
                      </a:r>
                      <a:r>
                        <a:rPr lang="ru-RU" sz="1200">
                          <a:effectLst/>
                        </a:rPr>
                        <a:t>уже начатой проверке выявлены </a:t>
                      </a:r>
                      <a:r>
                        <a:rPr lang="ru-RU" sz="1200" dirty="0">
                          <a:effectLst/>
                        </a:rPr>
                        <a:t>нарушения, срок давности привлечения к административной ответственности за которые истекает до 01.06.2020 (в таких случаях допускается проведение проверок и осуществление административного производства только в части таких нарушений);</a:t>
                      </a:r>
                    </a:p>
                    <a:p>
                      <a:pPr marL="179388" indent="-179388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/>
                      </a:pPr>
                      <a:r>
                        <a:rPr lang="ru-RU" sz="1200" dirty="0">
                          <a:effectLst/>
                        </a:rPr>
                        <a:t>Течение сроков:</a:t>
                      </a:r>
                    </a:p>
                    <a:p>
                      <a:pPr marL="268288" lvl="1" indent="-130175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dirty="0">
                          <a:effectLst/>
                        </a:rPr>
                        <a:t>для составления и вручения актов налоговых проверок, актов о нарушениях законодательства о налогах и сборах,</a:t>
                      </a:r>
                    </a:p>
                    <a:p>
                      <a:pPr marL="268288" lvl="1" indent="-130175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dirty="0">
                          <a:effectLst/>
                        </a:rPr>
                        <a:t>для представления возражений на </a:t>
                      </a:r>
                      <a:r>
                        <a:rPr lang="ru-RU" sz="1200">
                          <a:effectLst/>
                        </a:rPr>
                        <a:t>указанные акты и для </a:t>
                      </a:r>
                      <a:r>
                        <a:rPr lang="ru-RU" sz="1200" dirty="0">
                          <a:effectLst/>
                        </a:rPr>
                        <a:t>рассмотрения налоговым органом таких актов и возражений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27551294"/>
                  </a:ext>
                </a:extLst>
              </a:tr>
              <a:tr h="4941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иостановлено:</a:t>
                      </a:r>
                    </a:p>
                    <a:p>
                      <a:pPr marL="138113" indent="-138113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dirty="0">
                          <a:effectLst/>
                        </a:rPr>
                        <a:t>блокировка счетов в связи с непредставлением декларации (расчетов по страховым взносам), не направлением квитанции о приеме документов, необеспечением приема документов по ТКС, непредставлением налоговым агентом расчета сумм НДФЛ;</a:t>
                      </a:r>
                    </a:p>
                    <a:p>
                      <a:pPr marL="138113" indent="-138113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dirty="0">
                          <a:effectLst/>
                        </a:rPr>
                        <a:t>запреты на открытие счетов в банках при наличии решения о приостановлении операций по счетам налогоплательщика-организации и переводов его электронных денежных средств, а также запрета на списание денежных средств с таких счетов для медицинских организаций, осуществляющих расходные операции в целях покупки медицинских изделий или лекарственных средств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773898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5655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BE124251-8DAF-7943-9F5A-245EE649C7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81751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3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552CBC5F-67A8-A149-9BE3-822A422EA7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999DCA43-DE24-CB4D-BEEA-51ADEF2441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4</a:t>
            </a:fld>
            <a:endParaRPr lang="ru-RU" dirty="0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5DDC9462-1CA9-FA47-BE75-104798EF30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7758912"/>
              </p:ext>
            </p:extLst>
          </p:nvPr>
        </p:nvGraphicFramePr>
        <p:xfrm>
          <a:off x="684213" y="1010076"/>
          <a:ext cx="7989639" cy="361039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289442">
                  <a:extLst>
                    <a:ext uri="{9D8B030D-6E8A-4147-A177-3AD203B41FA5}">
                      <a16:colId xmlns:a16="http://schemas.microsoft.com/office/drawing/2014/main" xmlns="" val="3347501338"/>
                    </a:ext>
                  </a:extLst>
                </a:gridCol>
                <a:gridCol w="1059888">
                  <a:extLst>
                    <a:ext uri="{9D8B030D-6E8A-4147-A177-3AD203B41FA5}">
                      <a16:colId xmlns:a16="http://schemas.microsoft.com/office/drawing/2014/main" xmlns="" val="1514736649"/>
                    </a:ext>
                  </a:extLst>
                </a:gridCol>
                <a:gridCol w="5640309">
                  <a:extLst>
                    <a:ext uri="{9D8B030D-6E8A-4147-A177-3AD203B41FA5}">
                      <a16:colId xmlns:a16="http://schemas.microsoft.com/office/drawing/2014/main" xmlns="" val="1340156055"/>
                    </a:ext>
                  </a:extLst>
                </a:gridCol>
              </a:tblGrid>
              <a:tr h="1888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ера поддержки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6000" marR="1667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рок 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омментарии 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16671" marR="1667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75269560"/>
                  </a:ext>
                </a:extLst>
              </a:tr>
              <a:tr h="308179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+mn-lt"/>
                        </a:rPr>
                        <a:t>Мораторий на налоговые санкции 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6000" marR="16671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B2B2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 31 мая 2020 года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B2B2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ЕПРИМЕНЕНИЕ налоговых санкций за непредставление документов, срок представления которых приходится на период с 1 марта 2020 года по 31 мая 2020 года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09820378"/>
                  </a:ext>
                </a:extLst>
              </a:tr>
              <a:tr h="36804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B2B2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 6 мес.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B2B2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ление предельного срока направления требований об уплате налогов, принятия решения о взыскании налогов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2B2B2B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30485894"/>
                  </a:ext>
                </a:extLst>
              </a:tr>
              <a:tr h="7383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нижение </a:t>
                      </a:r>
                      <a:r>
                        <a:rPr lang="ru-RU" sz="1400" b="1" dirty="0" err="1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эквайринговых</a:t>
                      </a:r>
                      <a:r>
                        <a:rPr lang="ru-RU" sz="14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комиссий при онлайн-продаже товаров</a:t>
                      </a:r>
                    </a:p>
                  </a:txBody>
                  <a:tcPr marL="36000" marR="16671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2B2B2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 30 сентября 2020 года</a:t>
                      </a:r>
                    </a:p>
                  </a:txBody>
                  <a:tcPr marL="68580" marR="685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rgbClr val="2B2B2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аксимальное значение комиссии  ограничивается на уровне 1%</a:t>
                      </a:r>
                      <a:r>
                        <a:rPr lang="ru-RU" sz="1400" kern="1200" baseline="0" dirty="0">
                          <a:solidFill>
                            <a:srgbClr val="2B2B2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для торгово-сервисных предприятий, продающих в розницу продукты питания, товары медицинского назначения, одежду, товары повседневного спроса. При этом данное снижение д</a:t>
                      </a:r>
                      <a:r>
                        <a:rPr lang="ru-RU" sz="1400" kern="1200" dirty="0">
                          <a:solidFill>
                            <a:srgbClr val="2B2B2B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я бытовой техники, электроники и средств связи установлено при покупке товаров на сумму не более 20 тыс. руб.</a:t>
                      </a:r>
                    </a:p>
                  </a:txBody>
                  <a:tcPr marL="68580" marR="685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1" name="Заголовок 2">
            <a:extLst>
              <a:ext uri="{FF2B5EF4-FFF2-40B4-BE49-F238E27FC236}">
                <a16:creationId xmlns:a16="http://schemas.microsoft.com/office/drawing/2014/main" xmlns="" id="{05A25F81-F0C5-1945-B472-F8930B1CA8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12" y="342226"/>
            <a:ext cx="4919472" cy="346249"/>
          </a:xfrm>
        </p:spPr>
        <p:txBody>
          <a:bodyPr/>
          <a:lstStyle/>
          <a:p>
            <a:r>
              <a:rPr lang="ru-RU" dirty="0"/>
              <a:t>Меры поддержки БИЗНЕСА</a:t>
            </a:r>
          </a:p>
        </p:txBody>
      </p:sp>
    </p:spTree>
    <p:extLst>
      <p:ext uri="{BB962C8B-B14F-4D97-AF65-F5344CB8AC3E}">
        <p14:creationId xmlns:p14="http://schemas.microsoft.com/office/powerpoint/2010/main" val="34711408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DCBDE671-4DF8-9D4E-B520-B0314B5CE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62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480099B9-760B-CA4E-8EED-6140182213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826C18E2-CE5E-2B43-BD18-5E0B1BDDF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2890" y="249254"/>
            <a:ext cx="5269894" cy="346249"/>
          </a:xfrm>
        </p:spPr>
        <p:txBody>
          <a:bodyPr/>
          <a:lstStyle/>
          <a:p>
            <a:r>
              <a:rPr lang="ru-RU" dirty="0"/>
              <a:t>МЕРЫ ПОДДЕРЖКИ БИЗНЕС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4EE7D945-FCC3-7F47-9E40-29C6A864C2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5</a:t>
            </a:fld>
            <a:endParaRPr lang="ru-RU" dirty="0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182A1AD9-9D05-3044-9D2A-1D725E0E94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213967"/>
              </p:ext>
            </p:extLst>
          </p:nvPr>
        </p:nvGraphicFramePr>
        <p:xfrm>
          <a:off x="350549" y="810606"/>
          <a:ext cx="8440366" cy="41368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575233">
                  <a:extLst>
                    <a:ext uri="{9D8B030D-6E8A-4147-A177-3AD203B41FA5}">
                      <a16:colId xmlns:a16="http://schemas.microsoft.com/office/drawing/2014/main" xmlns="" val="328781730"/>
                    </a:ext>
                  </a:extLst>
                </a:gridCol>
                <a:gridCol w="845127">
                  <a:extLst>
                    <a:ext uri="{9D8B030D-6E8A-4147-A177-3AD203B41FA5}">
                      <a16:colId xmlns:a16="http://schemas.microsoft.com/office/drawing/2014/main" xmlns="" val="1436604440"/>
                    </a:ext>
                  </a:extLst>
                </a:gridCol>
                <a:gridCol w="4239491">
                  <a:extLst>
                    <a:ext uri="{9D8B030D-6E8A-4147-A177-3AD203B41FA5}">
                      <a16:colId xmlns:a16="http://schemas.microsoft.com/office/drawing/2014/main" xmlns="" val="774205319"/>
                    </a:ext>
                  </a:extLst>
                </a:gridCol>
                <a:gridCol w="1780515">
                  <a:extLst>
                    <a:ext uri="{9D8B030D-6E8A-4147-A177-3AD203B41FA5}">
                      <a16:colId xmlns:a16="http://schemas.microsoft.com/office/drawing/2014/main" xmlns="" val="3559841079"/>
                    </a:ext>
                  </a:extLst>
                </a:gridCol>
              </a:tblGrid>
              <a:tr h="413362"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ера поддержки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рок 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Комментарий</a:t>
                      </a: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Вам подходит эта мера если Вы: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83047504"/>
                  </a:ext>
                </a:extLst>
              </a:tr>
              <a:tr h="130983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b="1" dirty="0">
                          <a:effectLst/>
                          <a:latin typeface="+mn-lt"/>
                        </a:rPr>
                        <a:t>Мораторий на возбуждение дел о банкротстве</a:t>
                      </a:r>
                      <a:endParaRPr lang="ru-RU" sz="1300" b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6000" marR="77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+mn-lt"/>
                        </a:rPr>
                        <a:t>6 месяцев</a:t>
                      </a:r>
                      <a:endParaRPr lang="ru-RU" sz="13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Правительством РФ введен мораторий на возбуждение дел о банкротстве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На срок действия моратория не допускается обращение взыскания на заложенное имущество, в том числе во внесудебном порядке, а также приостанавливается исполнительное производство по имущественным взысканиям по требованиям, возникшим до введения моратория (при этом не снимаются аресты на имущество должника и иные ограничения в части распоряжения имуществом должника, наложенные в ходе исполнительного производства).</a:t>
                      </a: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существляете деятельность в наиболее пострадавших отраслях</a:t>
                      </a: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83956898"/>
                  </a:ext>
                </a:extLst>
              </a:tr>
              <a:tr h="303219">
                <a:tc>
                  <a:txBody>
                    <a:bodyPr/>
                    <a:lstStyle/>
                    <a:p>
                      <a:pPr algn="l">
                        <a:spcAft>
                          <a:spcPts val="750"/>
                        </a:spcAft>
                      </a:pPr>
                      <a:r>
                        <a:rPr lang="ru-RU" sz="1300" b="1" dirty="0">
                          <a:effectLst/>
                          <a:latin typeface="+mn-lt"/>
                        </a:rPr>
                        <a:t>Отмена взноса в резервный фонд Объединения туроператоров в сфере выездного туризма</a:t>
                      </a:r>
                      <a:endParaRPr lang="ru-RU" sz="1300" b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6000" marR="77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+mn-lt"/>
                        </a:rPr>
                        <a:t>До конца 2020 года</a:t>
                      </a:r>
                      <a:endParaRPr lang="ru-RU" sz="13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На 2020 год размер взноса в резервный фонд объединения туроператоров в сфере выездного туризма составляет 1 рубль, за исключением взносов для туроператоров или юридических лиц, ранее не осуществлявших туроператорскую деятельность в сфере выездного туризма, при вступлении в члены объединения туроператоров в сфере выездного туризма.</a:t>
                      </a: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+mn-lt"/>
                        </a:rPr>
                        <a:t>Туроператор</a:t>
                      </a:r>
                      <a:endParaRPr lang="ru-RU" sz="13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850092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4013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DCBDE671-4DF8-9D4E-B520-B0314B5CE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26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480099B9-760B-CA4E-8EED-6140182213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826C18E2-CE5E-2B43-BD18-5E0B1BDDF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2890" y="249254"/>
            <a:ext cx="5269894" cy="346249"/>
          </a:xfrm>
        </p:spPr>
        <p:txBody>
          <a:bodyPr/>
          <a:lstStyle/>
          <a:p>
            <a:r>
              <a:rPr lang="ru-RU" dirty="0"/>
              <a:t>МЕРЫ ПОДДЕРЖКИ БИЗНЕС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4EE7D945-FCC3-7F47-9E40-29C6A864C2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6</a:t>
            </a:fld>
            <a:endParaRPr lang="ru-RU" dirty="0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182A1AD9-9D05-3044-9D2A-1D725E0E94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7385363"/>
              </p:ext>
            </p:extLst>
          </p:nvPr>
        </p:nvGraphicFramePr>
        <p:xfrm>
          <a:off x="367628" y="755468"/>
          <a:ext cx="8673127" cy="415735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599717">
                  <a:extLst>
                    <a:ext uri="{9D8B030D-6E8A-4147-A177-3AD203B41FA5}">
                      <a16:colId xmlns:a16="http://schemas.microsoft.com/office/drawing/2014/main" xmlns="" val="328781730"/>
                    </a:ext>
                  </a:extLst>
                </a:gridCol>
                <a:gridCol w="928255">
                  <a:extLst>
                    <a:ext uri="{9D8B030D-6E8A-4147-A177-3AD203B41FA5}">
                      <a16:colId xmlns:a16="http://schemas.microsoft.com/office/drawing/2014/main" xmlns="" val="1436604440"/>
                    </a:ext>
                  </a:extLst>
                </a:gridCol>
                <a:gridCol w="4174127">
                  <a:extLst>
                    <a:ext uri="{9D8B030D-6E8A-4147-A177-3AD203B41FA5}">
                      <a16:colId xmlns:a16="http://schemas.microsoft.com/office/drawing/2014/main" xmlns="" val="2690336418"/>
                    </a:ext>
                  </a:extLst>
                </a:gridCol>
                <a:gridCol w="1971028">
                  <a:extLst>
                    <a:ext uri="{9D8B030D-6E8A-4147-A177-3AD203B41FA5}">
                      <a16:colId xmlns:a16="http://schemas.microsoft.com/office/drawing/2014/main" xmlns="" val="3559841079"/>
                    </a:ext>
                  </a:extLst>
                </a:gridCol>
              </a:tblGrid>
              <a:tr h="486366"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ера поддержки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рок 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омментарии 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Вам подходит эта мера если Вы: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83047504"/>
                  </a:ext>
                </a:extLst>
              </a:tr>
              <a:tr h="2492651">
                <a:tc>
                  <a:txBody>
                    <a:bodyPr/>
                    <a:lstStyle/>
                    <a:p>
                      <a:pPr algn="l">
                        <a:spcAft>
                          <a:spcPts val="750"/>
                        </a:spcAft>
                      </a:pPr>
                      <a:r>
                        <a:rPr lang="ru-RU" sz="1200" b="1" dirty="0">
                          <a:effectLst/>
                          <a:latin typeface="+mn-lt"/>
                        </a:rPr>
                        <a:t>Автоматическое продление разрешений и лицензий</a:t>
                      </a:r>
                      <a:endParaRPr lang="ru-RU" sz="1200" b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6000" marR="77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до 31 декабря 2020 года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Лицензии и иные разрешения на отдельные виды деятельности, сроки действия которых истекают (истекли) в период с 15 марта по 31 декабря 2020 г. продлеваются на 12 месяцев.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Перечень таких лицензий и разрешений определен Правительством РФ и включает, например, лицензии на производство и оборот этилового спирта, алкогольной и спиртосодержащей продукции (в том числе лицензий на розничную продажу алкогольной продукции).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Также предусмотрено продление действия отдельных разрешений, например,  на один год продлевается срок действия разрешений на строительство, срок действия которых истекает с 6 апреля 2020 г. до 1 января 2021 г.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Получатель лицензий и разрешений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09533811"/>
                  </a:ext>
                </a:extLst>
              </a:tr>
              <a:tr h="1054796">
                <a:tc>
                  <a:txBody>
                    <a:bodyPr/>
                    <a:lstStyle/>
                    <a:p>
                      <a:pPr algn="l">
                        <a:spcAft>
                          <a:spcPts val="750"/>
                        </a:spcAft>
                      </a:pPr>
                      <a:r>
                        <a:rPr lang="ru-RU" sz="1200" b="1" dirty="0">
                          <a:effectLst/>
                          <a:latin typeface="+mn-lt"/>
                        </a:rPr>
                        <a:t>Отсрочка по уплате штрафы и пени за просрочку платежей по ЖКУ</a:t>
                      </a:r>
                      <a:endParaRPr lang="ru-RU" sz="1200" b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6000" marR="77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До 1 января 2021 года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Приостановить до 1 января 2021 г. взыскание неустойки (штрафа, пени) в случае несвоевременных и (или) внесенных не в полном размере платы за жилое помещение и коммунальные услуги и взносов на капитальный ремонт.</a:t>
                      </a: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bg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Собственник и пользователь помещений в многоквартирных и жилых домах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780" marR="578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096967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3011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BE124251-8DAF-7943-9F5A-245EE649C7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0135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92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552CBC5F-67A8-A149-9BE3-822A422EA7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999DCA43-DE24-CB4D-BEEA-51ADEF2441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7</a:t>
            </a:fld>
            <a:endParaRPr lang="ru-RU" dirty="0"/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xmlns="" id="{22AC9A09-7858-B145-AAF5-B52C24CD58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776587"/>
              </p:ext>
            </p:extLst>
          </p:nvPr>
        </p:nvGraphicFramePr>
        <p:xfrm>
          <a:off x="471103" y="969723"/>
          <a:ext cx="8386921" cy="37157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94461">
                  <a:extLst>
                    <a:ext uri="{9D8B030D-6E8A-4147-A177-3AD203B41FA5}">
                      <a16:colId xmlns:a16="http://schemas.microsoft.com/office/drawing/2014/main" xmlns="" val="2332322071"/>
                    </a:ext>
                  </a:extLst>
                </a:gridCol>
                <a:gridCol w="789709">
                  <a:extLst>
                    <a:ext uri="{9D8B030D-6E8A-4147-A177-3AD203B41FA5}">
                      <a16:colId xmlns:a16="http://schemas.microsoft.com/office/drawing/2014/main" xmlns="" val="153558431"/>
                    </a:ext>
                  </a:extLst>
                </a:gridCol>
                <a:gridCol w="4024745">
                  <a:extLst>
                    <a:ext uri="{9D8B030D-6E8A-4147-A177-3AD203B41FA5}">
                      <a16:colId xmlns:a16="http://schemas.microsoft.com/office/drawing/2014/main" xmlns="" val="1832417872"/>
                    </a:ext>
                  </a:extLst>
                </a:gridCol>
                <a:gridCol w="2478006">
                  <a:extLst>
                    <a:ext uri="{9D8B030D-6E8A-4147-A177-3AD203B41FA5}">
                      <a16:colId xmlns:a16="http://schemas.microsoft.com/office/drawing/2014/main" xmlns="" val="973634257"/>
                    </a:ext>
                  </a:extLst>
                </a:gridCol>
              </a:tblGrid>
              <a:tr h="219995">
                <a:tc>
                  <a:txBody>
                    <a:bodyPr/>
                    <a:lstStyle/>
                    <a:p>
                      <a:pPr marL="0" algn="just" defTabSz="6858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ра поддержки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6858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рок 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6858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ментарии 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Вам подходит эта мера если Вы: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89440">
                <a:tc>
                  <a:txBody>
                    <a:bodyPr/>
                    <a:lstStyle/>
                    <a:p>
                      <a:pPr>
                        <a:spcAft>
                          <a:spcPts val="750"/>
                        </a:spcAft>
                      </a:pPr>
                      <a:r>
                        <a:rPr lang="ru-RU" sz="1200" b="1" dirty="0">
                          <a:effectLst/>
                          <a:latin typeface="+mn-lt"/>
                        </a:rPr>
                        <a:t>Отсрочка по аренде </a:t>
                      </a:r>
                      <a:endParaRPr lang="ru-RU" sz="1200" b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До конца 2020 года 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срочка платежей за арендуемые государственные и муниципальные помещения, коммерческую недвижимость на срок с даты введения режима повышенной готовности до 1 октября 2020 года.</a:t>
                      </a: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Арендатор государственного,</a:t>
                      </a:r>
                      <a:r>
                        <a:rPr lang="ru-RU" sz="1200" baseline="0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муниципального имущества;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мерческой недвижимости</a:t>
                      </a:r>
                    </a:p>
                    <a:p>
                      <a:pPr marL="171450" marR="0" lvl="0" indent="-17145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существляете деятельность в наиболее пострадавших отраслях</a:t>
                      </a:r>
                    </a:p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154524567"/>
                  </a:ext>
                </a:extLst>
              </a:tr>
              <a:tr h="889440">
                <a:tc>
                  <a:txBody>
                    <a:bodyPr/>
                    <a:lstStyle/>
                    <a:p>
                      <a:pPr>
                        <a:spcAft>
                          <a:spcPts val="750"/>
                        </a:spcAft>
                      </a:pPr>
                      <a:r>
                        <a:rPr lang="ru-RU" sz="12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свобождение от уплаты арендных платежей</a:t>
                      </a: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До конца 2020 года</a:t>
                      </a: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 договорам аренды федерального имущества арендаторы-субъекты МСП в наиболее пострадавших отраслях освобождаются от уплаты арендных платежей за апрель, май и июнь 2020 года.</a:t>
                      </a: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Арендатор </a:t>
                      </a:r>
                      <a:r>
                        <a:rPr lang="ru-RU" sz="12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федерального имущества</a:t>
                      </a:r>
                      <a:r>
                        <a:rPr lang="ru-RU" sz="1200" b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;</a:t>
                      </a:r>
                    </a:p>
                    <a:p>
                      <a:pPr marL="171450" marR="0" indent="-17145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остоите в реестре субъектов МСП;</a:t>
                      </a:r>
                    </a:p>
                    <a:p>
                      <a:pPr marL="171450" marR="0" indent="-17145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существляете деятельность в наиболее пострадавших отраслях</a:t>
                      </a: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78993484"/>
                  </a:ext>
                </a:extLst>
              </a:tr>
              <a:tr h="848595">
                <a:tc>
                  <a:txBody>
                    <a:bodyPr/>
                    <a:lstStyle/>
                    <a:p>
                      <a:pPr>
                        <a:spcAft>
                          <a:spcPts val="750"/>
                        </a:spcAft>
                      </a:pPr>
                      <a:r>
                        <a:rPr lang="ru-RU" sz="12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ижение размера арендной платы</a:t>
                      </a: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конца 2020 года 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рендатор по договорам аренды недвижимого имущества вправе потребовать уменьшения арендной платы.</a:t>
                      </a:r>
                    </a:p>
                    <a:p>
                      <a:pPr marL="0" algn="l" defTabSz="6858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говор может изменяться по соглашению сторон в любое время в течение 2020 года.</a:t>
                      </a: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Арендатор государственного, муниципального имущества; </a:t>
                      </a:r>
                    </a:p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ммерческой недвижимости</a:t>
                      </a:r>
                      <a:endParaRPr lang="ru-RU" sz="12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1" name="Заголовок 2">
            <a:extLst>
              <a:ext uri="{FF2B5EF4-FFF2-40B4-BE49-F238E27FC236}">
                <a16:creationId xmlns:a16="http://schemas.microsoft.com/office/drawing/2014/main" xmlns="" id="{05A25F81-F0C5-1945-B472-F8930B1CA8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12" y="321681"/>
            <a:ext cx="4803044" cy="623248"/>
          </a:xfrm>
        </p:spPr>
        <p:txBody>
          <a:bodyPr/>
          <a:lstStyle/>
          <a:p>
            <a:r>
              <a:rPr lang="ru-RU" dirty="0"/>
              <a:t>Меры поддержки БИЗНЕСА</a:t>
            </a:r>
            <a:br>
              <a:rPr lang="ru-RU" dirty="0"/>
            </a:br>
            <a:r>
              <a:rPr lang="ru-RU" dirty="0"/>
              <a:t>по аренде имущества</a:t>
            </a:r>
          </a:p>
        </p:txBody>
      </p:sp>
    </p:spTree>
    <p:extLst>
      <p:ext uri="{BB962C8B-B14F-4D97-AF65-F5344CB8AC3E}">
        <p14:creationId xmlns:p14="http://schemas.microsoft.com/office/powerpoint/2010/main" val="835081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BE124251-8DAF-7943-9F5A-245EE649C7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85848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32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552CBC5F-67A8-A149-9BE3-822A422EA7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xmlns="" id="{D34580BB-89B4-B340-8446-F195A6BE2721}"/>
              </a:ext>
            </a:extLst>
          </p:cNvPr>
          <p:cNvSpPr/>
          <p:nvPr/>
        </p:nvSpPr>
        <p:spPr>
          <a:xfrm>
            <a:off x="959666" y="754025"/>
            <a:ext cx="2046084" cy="26901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999DCA43-DE24-CB4D-BEEA-51ADEF2441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2426A2D-2457-FC4E-A90D-85F39202BDF2}"/>
              </a:ext>
            </a:extLst>
          </p:cNvPr>
          <p:cNvSpPr txBox="1"/>
          <p:nvPr/>
        </p:nvSpPr>
        <p:spPr>
          <a:xfrm>
            <a:off x="1057549" y="790238"/>
            <a:ext cx="7884258" cy="36112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buClr>
                <a:schemeClr val="bg2"/>
              </a:buClr>
            </a:pPr>
            <a:r>
              <a:rPr lang="ru-RU" sz="1300" b="1" dirty="0">
                <a:solidFill>
                  <a:schemeClr val="bg1"/>
                </a:solidFill>
              </a:rPr>
              <a:t>А ТАКЖЕ: </a:t>
            </a:r>
          </a:p>
          <a:p>
            <a:pPr marL="171450" lvl="0" indent="-171450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Устанавливается нулевая ставка ввозной таможенной пошлины на ряд товаров, которые будут определены Правительством РФ, в том числе лекарственные средства и медицинские изделия</a:t>
            </a:r>
          </a:p>
          <a:p>
            <a:pPr marL="171450" lvl="0" indent="-171450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Разрешается дистанционная торговля безрецептурными лекарственными средствами и медицинскими изделиями</a:t>
            </a:r>
          </a:p>
          <a:p>
            <a:pPr marL="171450" lvl="0" indent="-171450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Вводится механизм субсидирования % по кредитам для предприятий торговли, получаемым на формирование запасов продуктов питания и товаров первой необходимости</a:t>
            </a:r>
          </a:p>
          <a:p>
            <a:pPr marL="171450" lvl="0" indent="-171450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Временно приостанавливается правило «третий лишний» при государственных закупках лекарственных средств и медицинских изделий по перечню товаров, определяемых Правительством РФ</a:t>
            </a:r>
          </a:p>
          <a:p>
            <a:pPr marL="171450" lvl="0" indent="-171450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Вводятся меры финансовой поддержки организаций транспорта, пострадавших от ухудшения ситуации, включая компенсацию убытков</a:t>
            </a:r>
          </a:p>
          <a:p>
            <a:pPr marL="171450" lvl="0" indent="-171450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Обеспечивается продление разрешений на трудовую деятельность иностранным работникам</a:t>
            </a:r>
          </a:p>
          <a:p>
            <a:pPr marL="171450" lvl="0" indent="-171450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Сокращается время уведомления работников до 2-х недель в связи с возможной остановкой предприятия</a:t>
            </a:r>
          </a:p>
          <a:p>
            <a:pPr marL="171450" lvl="0" indent="-171450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300" dirty="0"/>
              <a:t>Вводится механизм неприменения штрафных санкций, а также возможности продления сроков и корректировки цен в 2020г. в случае нарушения обязательств исполнителем (ввиду распространения коронавирусной инфекции)</a:t>
            </a:r>
          </a:p>
        </p:txBody>
      </p:sp>
      <p:sp>
        <p:nvSpPr>
          <p:cNvPr id="11" name="Заголовок 2">
            <a:extLst>
              <a:ext uri="{FF2B5EF4-FFF2-40B4-BE49-F238E27FC236}">
                <a16:creationId xmlns:a16="http://schemas.microsoft.com/office/drawing/2014/main" xmlns="" id="{05A25F81-F0C5-1945-B472-F8930B1CA8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12" y="342226"/>
            <a:ext cx="4919472" cy="346249"/>
          </a:xfrm>
        </p:spPr>
        <p:txBody>
          <a:bodyPr/>
          <a:lstStyle/>
          <a:p>
            <a:r>
              <a:rPr lang="ru-RU" dirty="0"/>
              <a:t>Меры поддержки БИЗНЕСА</a:t>
            </a:r>
          </a:p>
        </p:txBody>
      </p:sp>
    </p:spTree>
    <p:extLst>
      <p:ext uri="{BB962C8B-B14F-4D97-AF65-F5344CB8AC3E}">
        <p14:creationId xmlns:p14="http://schemas.microsoft.com/office/powerpoint/2010/main" val="24817323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DCBDE671-4DF8-9D4E-B520-B0314B5CE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440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91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480099B9-760B-CA4E-8EED-6140182213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826C18E2-CE5E-2B43-BD18-5E0B1BDDF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2890" y="249254"/>
            <a:ext cx="5269894" cy="346249"/>
          </a:xfrm>
        </p:spPr>
        <p:txBody>
          <a:bodyPr/>
          <a:lstStyle/>
          <a:p>
            <a:r>
              <a:rPr lang="ru-RU" dirty="0"/>
              <a:t>МЕРЫ ПОДДЕРЖКИ МСП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4EE7D945-FCC3-7F47-9E40-29C6A864C2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9</a:t>
            </a:fld>
            <a:endParaRPr lang="ru-RU" dirty="0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182A1AD9-9D05-3044-9D2A-1D725E0E94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9169287"/>
              </p:ext>
            </p:extLst>
          </p:nvPr>
        </p:nvGraphicFramePr>
        <p:xfrm>
          <a:off x="323390" y="893447"/>
          <a:ext cx="8673127" cy="359384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095">
                  <a:extLst>
                    <a:ext uri="{9D8B030D-6E8A-4147-A177-3AD203B41FA5}">
                      <a16:colId xmlns:a16="http://schemas.microsoft.com/office/drawing/2014/main" xmlns="" val="328781730"/>
                    </a:ext>
                  </a:extLst>
                </a:gridCol>
                <a:gridCol w="869133">
                  <a:extLst>
                    <a:ext uri="{9D8B030D-6E8A-4147-A177-3AD203B41FA5}">
                      <a16:colId xmlns:a16="http://schemas.microsoft.com/office/drawing/2014/main" xmlns="" val="1436604440"/>
                    </a:ext>
                  </a:extLst>
                </a:gridCol>
                <a:gridCol w="4979406">
                  <a:extLst>
                    <a:ext uri="{9D8B030D-6E8A-4147-A177-3AD203B41FA5}">
                      <a16:colId xmlns:a16="http://schemas.microsoft.com/office/drawing/2014/main" xmlns="" val="2690336418"/>
                    </a:ext>
                  </a:extLst>
                </a:gridCol>
                <a:gridCol w="1880493">
                  <a:extLst>
                    <a:ext uri="{9D8B030D-6E8A-4147-A177-3AD203B41FA5}">
                      <a16:colId xmlns:a16="http://schemas.microsoft.com/office/drawing/2014/main" xmlns="" val="3559841079"/>
                    </a:ext>
                  </a:extLst>
                </a:gridCol>
              </a:tblGrid>
              <a:tr h="182975"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Мера поддержки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Срок 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Комментарии 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</a:rPr>
                        <a:t>Вам подходит эта мера если Вы:</a:t>
                      </a:r>
                      <a:endParaRPr lang="ru-RU" sz="13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83047504"/>
                  </a:ext>
                </a:extLst>
              </a:tr>
              <a:tr h="394947">
                <a:tc rowSpan="5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b="1" dirty="0">
                          <a:effectLst/>
                        </a:rPr>
                        <a:t>Продление сроков уплаты налогов</a:t>
                      </a:r>
                      <a:endParaRPr lang="ru-RU" sz="13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на 6 месяцев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1398270" algn="l"/>
                        </a:tabLst>
                      </a:pPr>
                      <a:r>
                        <a:rPr lang="ru-RU" sz="1300" dirty="0">
                          <a:effectLst/>
                        </a:rPr>
                        <a:t>продление срока уплаты налогов (авансовых платежей по налогу), за исключением НДС, НПД и НДФЛ, за отчетные периоды, приходящиеся на 1 квартал 2020 года;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77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300" dirty="0">
                          <a:effectLst/>
                        </a:rPr>
                        <a:t>соответствуете ОДНОВРЕМЕННО 3 требованиям: </a:t>
                      </a:r>
                    </a:p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effectLst/>
                        </a:rPr>
                        <a:t>состоите в реестре </a:t>
                      </a:r>
                      <a:r>
                        <a:rPr lang="ru-RU" sz="1300" dirty="0" err="1">
                          <a:effectLst/>
                        </a:rPr>
                        <a:t>МСП</a:t>
                      </a:r>
                      <a:endParaRPr lang="ru-RU" sz="1300" dirty="0">
                        <a:effectLst/>
                      </a:endParaRPr>
                    </a:p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r>
                        <a:rPr lang="ru-RU" sz="1300" dirty="0">
                          <a:effectLst/>
                        </a:rPr>
                        <a:t>осуществляете деятельность в наиболее пострадавших отраслях</a:t>
                      </a:r>
                    </a:p>
                    <a:p>
                      <a:pPr marL="171450" marR="0" lvl="0" indent="-1714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3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ши доходы снизились на более, чем на 10 процентов</a:t>
                      </a:r>
                    </a:p>
                    <a:p>
                      <a:pPr marL="171450" lvl="0" indent="-171450" algn="l">
                        <a:spcAft>
                          <a:spcPts val="0"/>
                        </a:spcAft>
                        <a:buClr>
                          <a:schemeClr val="bg2"/>
                        </a:buClr>
                        <a:buSzPct val="100000"/>
                        <a:buFont typeface="Arial" panose="020B0604020202020204" pitchFamily="34" charset="0"/>
                        <a:buChar char="•"/>
                      </a:pP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92006428"/>
                  </a:ext>
                </a:extLst>
              </a:tr>
              <a:tr h="2632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на 4 месяц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родление срока уплаты налогов (авансовых платежей по налогу), за исключением НДС и </a:t>
                      </a:r>
                      <a:r>
                        <a:rPr lang="ru-RU" sz="1300" dirty="0" err="1">
                          <a:effectLst/>
                        </a:rPr>
                        <a:t>НДФЛ</a:t>
                      </a:r>
                      <a:r>
                        <a:rPr lang="ru-RU" sz="1300" dirty="0">
                          <a:effectLst/>
                        </a:rPr>
                        <a:t>, за отчетные периоды, приходящиеся на полугодие (2 квартал) 2020 года.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77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85696774"/>
                  </a:ext>
                </a:extLst>
              </a:tr>
              <a:tr h="3949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до 30 октября 2020 года;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родление сроков уплаты авансовых платежей по транспортному налогу, налогу на имущество организаций и земельному налогу (в регионах, в которых установлены авансовые платежи) за первый квартал 2020 года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93901177"/>
                  </a:ext>
                </a:extLst>
              </a:tr>
              <a:tr h="3949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до 30 декабря 2020 год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родление сроков уплаты авансовых платежей по транспортному налогу, налогу на имущество организаций и земельному налогу (в регионах, в которых установлены авансовые платежи) за второй квартал 2020 года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58767176"/>
                  </a:ext>
                </a:extLst>
              </a:tr>
              <a:tr h="1316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</a:rPr>
                        <a:t>на 3 месяца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78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</a:rPr>
                        <a:t>продление сроков уплаты </a:t>
                      </a:r>
                      <a:r>
                        <a:rPr lang="ru-RU" sz="1300" dirty="0" err="1">
                          <a:effectLst/>
                        </a:rPr>
                        <a:t>НДФЛ</a:t>
                      </a:r>
                      <a:r>
                        <a:rPr lang="ru-RU" sz="1300" dirty="0">
                          <a:effectLst/>
                        </a:rPr>
                        <a:t> за 2019 год в соответствии с п.6 ст.227 Кодекса (для </a:t>
                      </a:r>
                      <a:r>
                        <a:rPr lang="ru-RU" sz="1300" dirty="0" err="1">
                          <a:effectLst/>
                        </a:rPr>
                        <a:t>ИП</a:t>
                      </a:r>
                      <a:r>
                        <a:rPr lang="ru-RU" sz="1300" dirty="0">
                          <a:effectLst/>
                        </a:rPr>
                        <a:t>);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6000" marR="5780" marT="0" marB="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61428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6751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SGGtJOF_1khCN.LZIN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aGuHQcdN_78zFaETDY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aGuHQcdN_78zFaETDY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SGGtJOF_1khCN.LZIN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SGGtJOF_1khCN.LZIN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aGuHQcdN_78zFaETDY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aGuHQcdN_78zFaETDY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aGuHQcdN_78zFaETDY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aGuHQcdN_78zFaETDY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aGuHQcdN_78zFaETDY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vrTSmpRLiaXkWeCfZ3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mS79ZVOOMEUxLLuH0h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mS79ZVOOMEUxLLuH0h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mS79ZVOOMEUxLLuH0h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SGGtJOF_1khCN.LZIN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SGGtJOF_1khCN.LZINhA"/>
</p:tagLst>
</file>

<file path=ppt/theme/theme1.xml><?xml version="1.0" encoding="utf-8"?>
<a:theme xmlns:a="http://schemas.openxmlformats.org/drawingml/2006/main" name="Тема Office">
  <a:themeElements>
    <a:clrScheme name="Пользовательские 16">
      <a:dk1>
        <a:srgbClr val="000000"/>
      </a:dk1>
      <a:lt1>
        <a:srgbClr val="FFFFFF"/>
      </a:lt1>
      <a:dk2>
        <a:srgbClr val="3B2362"/>
      </a:dk2>
      <a:lt2>
        <a:srgbClr val="E20C3C"/>
      </a:lt2>
      <a:accent1>
        <a:srgbClr val="262F81"/>
      </a:accent1>
      <a:accent2>
        <a:srgbClr val="EB4B76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396</TotalTime>
  <Words>2294</Words>
  <Application>Microsoft Office PowerPoint</Application>
  <PresentationFormat>Экран (16:9)</PresentationFormat>
  <Paragraphs>278</Paragraphs>
  <Slides>17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9" baseType="lpstr">
      <vt:lpstr>Тема Office</vt:lpstr>
      <vt:lpstr>Слайд think-cell</vt:lpstr>
      <vt:lpstr>Презентация PowerPoint</vt:lpstr>
      <vt:lpstr>Меры поддержки БИЗНЕСА</vt:lpstr>
      <vt:lpstr>Меры поддержки БИЗНЕСА</vt:lpstr>
      <vt:lpstr>Меры поддержки БИЗНЕСА</vt:lpstr>
      <vt:lpstr>МЕРЫ ПОДДЕРЖКИ БИЗНЕСА</vt:lpstr>
      <vt:lpstr>МЕРЫ ПОДДЕРЖКИ БИЗНЕСА</vt:lpstr>
      <vt:lpstr>Меры поддержки БИЗНЕСА по аренде имущества</vt:lpstr>
      <vt:lpstr>Меры поддержки БИЗНЕСА</vt:lpstr>
      <vt:lpstr>МЕРЫ ПОДДЕРЖКИ МСП</vt:lpstr>
      <vt:lpstr>МЕРЫ ПОДДЕРЖКИ МСП</vt:lpstr>
      <vt:lpstr>МЕРЫ ПОДДЕРЖКИ МСП</vt:lpstr>
      <vt:lpstr>МЕРЫ ПОДДЕРЖКИ МСП </vt:lpstr>
      <vt:lpstr>МЕРЫ ПОДДЕРЖКИ МСП </vt:lpstr>
      <vt:lpstr>МЕРЫ ПОДДЕРЖКИ МСП  МОСКОВСКОЙ ОБЛАСТИ </vt:lpstr>
      <vt:lpstr>МЕРЫ ПОДДЕРЖКИ МСП  МОСКОВСКОЙ ОБЛАСТИ </vt:lpstr>
      <vt:lpstr>МЕРЫ ПОДДЕРЖКИ МСП  МОСКОВСКОЙ ОБЛАСТИ </vt:lpstr>
      <vt:lpstr>Какие сферы признаны наиболее пострадавшими? 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риемная Егоровой Н.К.</dc:creator>
  <cp:lastModifiedBy>P15U03</cp:lastModifiedBy>
  <cp:revision>86</cp:revision>
  <cp:lastPrinted>2020-04-16T07:17:55Z</cp:lastPrinted>
  <dcterms:modified xsi:type="dcterms:W3CDTF">2020-04-16T07:31:41Z</dcterms:modified>
</cp:coreProperties>
</file>